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6.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7.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11" r:id="rId6"/>
    <p:sldMasterId id="2147483714" r:id="rId7"/>
    <p:sldMasterId id="2147483787" r:id="rId8"/>
    <p:sldMasterId id="2147483860" r:id="rId9"/>
    <p:sldMasterId id="2147483933" r:id="rId10"/>
    <p:sldMasterId id="2147483970" r:id="rId11"/>
  </p:sldMasterIdLst>
  <p:notesMasterIdLst>
    <p:notesMasterId r:id="rId45"/>
  </p:notesMasterIdLst>
  <p:sldIdLst>
    <p:sldId id="257" r:id="rId12"/>
    <p:sldId id="259" r:id="rId13"/>
    <p:sldId id="2147482121" r:id="rId14"/>
    <p:sldId id="2147482541" r:id="rId15"/>
    <p:sldId id="2147482542" r:id="rId16"/>
    <p:sldId id="2147482394" r:id="rId17"/>
    <p:sldId id="2147482122" r:id="rId18"/>
    <p:sldId id="2147482395" r:id="rId19"/>
    <p:sldId id="286" r:id="rId20"/>
    <p:sldId id="2147482128" r:id="rId21"/>
    <p:sldId id="2147483607" r:id="rId22"/>
    <p:sldId id="2147482397" r:id="rId23"/>
    <p:sldId id="2147482390" r:id="rId24"/>
    <p:sldId id="2147482133" r:id="rId25"/>
    <p:sldId id="2147481926" r:id="rId26"/>
    <p:sldId id="2147481925" r:id="rId27"/>
    <p:sldId id="2147481919" r:id="rId28"/>
    <p:sldId id="2147481921" r:id="rId29"/>
    <p:sldId id="2147482389" r:id="rId30"/>
    <p:sldId id="2147482123" r:id="rId31"/>
    <p:sldId id="2147482391" r:id="rId32"/>
    <p:sldId id="2147482124" r:id="rId33"/>
    <p:sldId id="2147482127" r:id="rId34"/>
    <p:sldId id="2147482125" r:id="rId35"/>
    <p:sldId id="2147482392" r:id="rId36"/>
    <p:sldId id="2147482398" r:id="rId37"/>
    <p:sldId id="2147482126" r:id="rId38"/>
    <p:sldId id="2147482393" r:id="rId39"/>
    <p:sldId id="2147483614" r:id="rId40"/>
    <p:sldId id="2147482396" r:id="rId41"/>
    <p:sldId id="2147483611" r:id="rId42"/>
    <p:sldId id="2147483612" r:id="rId43"/>
    <p:sldId id="2147483613"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672D5217-D9B5-4976-9610-35F29A9C9460}">
          <p14:sldIdLst>
            <p14:sldId id="257"/>
            <p14:sldId id="259"/>
          </p14:sldIdLst>
        </p14:section>
        <p14:section name="Welcome &amp; Introductions" id="{3F0608A5-DD10-4A9F-9237-4B02CF6CEADF}">
          <p14:sldIdLst>
            <p14:sldId id="2147482121"/>
            <p14:sldId id="2147482541"/>
            <p14:sldId id="2147482542"/>
            <p14:sldId id="2147482394"/>
          </p14:sldIdLst>
        </p14:section>
        <p14:section name="Setting the Stage" id="{2A6FFFB7-315B-4FDB-9050-F15DBC311E9A}">
          <p14:sldIdLst>
            <p14:sldId id="2147482122"/>
            <p14:sldId id="2147482395"/>
            <p14:sldId id="286"/>
            <p14:sldId id="2147482128"/>
            <p14:sldId id="2147483607"/>
            <p14:sldId id="2147482397"/>
            <p14:sldId id="2147482390"/>
            <p14:sldId id="2147482133"/>
            <p14:sldId id="2147481926"/>
            <p14:sldId id="2147481925"/>
            <p14:sldId id="2147481919"/>
            <p14:sldId id="2147481921"/>
            <p14:sldId id="2147482389"/>
          </p14:sldIdLst>
        </p14:section>
        <p14:section name="Hands-On Lab" id="{C12964D6-461A-4D3A-A4B5-BB42285F5D8D}">
          <p14:sldIdLst>
            <p14:sldId id="2147482123"/>
            <p14:sldId id="2147482391"/>
          </p14:sldIdLst>
        </p14:section>
        <p14:section name="Break" id="{7972D8AB-984F-4E8F-9607-E9CB20594047}">
          <p14:sldIdLst>
            <p14:sldId id="2147482124"/>
            <p14:sldId id="2147482127"/>
          </p14:sldIdLst>
        </p14:section>
        <p14:section name="Show &amp; Tell" id="{259B7B94-0954-4B8A-80CD-F01252B01469}">
          <p14:sldIdLst>
            <p14:sldId id="2147482125"/>
            <p14:sldId id="2147482392"/>
            <p14:sldId id="2147482398"/>
          </p14:sldIdLst>
        </p14:section>
        <p14:section name="Close" id="{C6497EA7-CDF8-4AAB-8E61-E706BC0589B9}">
          <p14:sldIdLst>
            <p14:sldId id="2147482126"/>
            <p14:sldId id="2147482393"/>
            <p14:sldId id="2147483614"/>
            <p14:sldId id="2147482396"/>
          </p14:sldIdLst>
        </p14:section>
        <p14:section name="Appendix" id="{6D878B44-CAA4-4241-92F3-B706243A3408}">
          <p14:sldIdLst>
            <p14:sldId id="2147483611"/>
            <p14:sldId id="2147483612"/>
            <p14:sldId id="214748361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880960-F3A7-2D8B-7D02-583E59EC8C7D}" name="Brooke Egan Sanders" initials="BE" userId="S::shegan@microsoft.com::e9ba86b2-5ea2-4495-8c67-3558aaca7f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9ED7"/>
    <a:srgbClr val="0D0B0C"/>
    <a:srgbClr val="8DC8E8"/>
    <a:srgbClr val="0078D4"/>
    <a:srgbClr val="10374E"/>
    <a:srgbClr val="091F2C"/>
    <a:srgbClr val="89CCFD"/>
    <a:srgbClr val="0A0A0A"/>
    <a:srgbClr val="A1EDDB"/>
    <a:srgbClr val="EDB0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26B44B-3791-4FC4-B948-8FBB12937951}" v="2" dt="2025-02-18T13:09:41.0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3" d="100"/>
          <a:sy n="123" d="100"/>
        </p:scale>
        <p:origin x="96" y="31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Tooles" userId="831746c4-f1a4-4e78-99f9-c748f9babc85" providerId="ADAL" clId="{8826B44B-3791-4FC4-B948-8FBB12937951}"/>
    <pc:docChg chg="custSel delSld modSld modSection">
      <pc:chgData name="James Tooles" userId="831746c4-f1a4-4e78-99f9-c748f9babc85" providerId="ADAL" clId="{8826B44B-3791-4FC4-B948-8FBB12937951}" dt="2025-02-18T13:10:36.150" v="5" actId="729"/>
      <pc:docMkLst>
        <pc:docMk/>
      </pc:docMkLst>
      <pc:sldChg chg="mod modShow">
        <pc:chgData name="James Tooles" userId="831746c4-f1a4-4e78-99f9-c748f9babc85" providerId="ADAL" clId="{8826B44B-3791-4FC4-B948-8FBB12937951}" dt="2025-02-18T13:10:36.150" v="5" actId="729"/>
        <pc:sldMkLst>
          <pc:docMk/>
          <pc:sldMk cId="1950432914" sldId="259"/>
        </pc:sldMkLst>
      </pc:sldChg>
      <pc:sldChg chg="delSp mod">
        <pc:chgData name="James Tooles" userId="831746c4-f1a4-4e78-99f9-c748f9babc85" providerId="ADAL" clId="{8826B44B-3791-4FC4-B948-8FBB12937951}" dt="2025-02-18T13:08:44.786" v="0" actId="478"/>
        <pc:sldMkLst>
          <pc:docMk/>
          <pc:sldMk cId="1372010162" sldId="2147482391"/>
        </pc:sldMkLst>
        <pc:spChg chg="del">
          <ac:chgData name="James Tooles" userId="831746c4-f1a4-4e78-99f9-c748f9babc85" providerId="ADAL" clId="{8826B44B-3791-4FC4-B948-8FBB12937951}" dt="2025-02-18T13:08:44.786" v="0" actId="478"/>
          <ac:spMkLst>
            <pc:docMk/>
            <pc:sldMk cId="1372010162" sldId="2147482391"/>
            <ac:spMk id="7" creationId="{B7D453CD-1EA7-55A1-22B1-B5DE76B55675}"/>
          </ac:spMkLst>
        </pc:spChg>
      </pc:sldChg>
      <pc:sldChg chg="delSp mod">
        <pc:chgData name="James Tooles" userId="831746c4-f1a4-4e78-99f9-c748f9babc85" providerId="ADAL" clId="{8826B44B-3791-4FC4-B948-8FBB12937951}" dt="2025-02-18T13:09:24.550" v="3" actId="478"/>
        <pc:sldMkLst>
          <pc:docMk/>
          <pc:sldMk cId="4127103404" sldId="2147482542"/>
        </pc:sldMkLst>
        <pc:spChg chg="del">
          <ac:chgData name="James Tooles" userId="831746c4-f1a4-4e78-99f9-c748f9babc85" providerId="ADAL" clId="{8826B44B-3791-4FC4-B948-8FBB12937951}" dt="2025-02-18T13:09:19.283" v="2" actId="478"/>
          <ac:spMkLst>
            <pc:docMk/>
            <pc:sldMk cId="4127103404" sldId="2147482542"/>
            <ac:spMk id="11" creationId="{1DEAC2D7-5C50-2E3F-777B-572040382388}"/>
          </ac:spMkLst>
        </pc:spChg>
        <pc:spChg chg="del">
          <ac:chgData name="James Tooles" userId="831746c4-f1a4-4e78-99f9-c748f9babc85" providerId="ADAL" clId="{8826B44B-3791-4FC4-B948-8FBB12937951}" dt="2025-02-18T13:09:24.550" v="3" actId="478"/>
          <ac:spMkLst>
            <pc:docMk/>
            <pc:sldMk cId="4127103404" sldId="2147482542"/>
            <ac:spMk id="13" creationId="{4D744E8E-017C-6825-F707-AA16B190BF5A}"/>
          </ac:spMkLst>
        </pc:spChg>
        <pc:picChg chg="del">
          <ac:chgData name="James Tooles" userId="831746c4-f1a4-4e78-99f9-c748f9babc85" providerId="ADAL" clId="{8826B44B-3791-4FC4-B948-8FBB12937951}" dt="2025-02-18T13:09:19.283" v="2" actId="478"/>
          <ac:picMkLst>
            <pc:docMk/>
            <pc:sldMk cId="4127103404" sldId="2147482542"/>
            <ac:picMk id="1026" creationId="{846B132B-9A6A-F203-BB2F-90DCC664A4A0}"/>
          </ac:picMkLst>
        </pc:picChg>
      </pc:sldChg>
      <pc:sldChg chg="del">
        <pc:chgData name="James Tooles" userId="831746c4-f1a4-4e78-99f9-c748f9babc85" providerId="ADAL" clId="{8826B44B-3791-4FC4-B948-8FBB12937951}" dt="2025-02-18T13:08:59.116" v="1" actId="47"/>
        <pc:sldMkLst>
          <pc:docMk/>
          <pc:sldMk cId="1011439141" sldId="2147483606"/>
        </pc:sldMkLst>
      </pc:sldChg>
      <pc:sldChg chg="del">
        <pc:chgData name="James Tooles" userId="831746c4-f1a4-4e78-99f9-c748f9babc85" providerId="ADAL" clId="{8826B44B-3791-4FC4-B948-8FBB12937951}" dt="2025-02-18T13:08:59.116" v="1" actId="47"/>
        <pc:sldMkLst>
          <pc:docMk/>
          <pc:sldMk cId="2769317295" sldId="2147483608"/>
        </pc:sldMkLst>
      </pc:sldChg>
      <pc:sldChg chg="del">
        <pc:chgData name="James Tooles" userId="831746c4-f1a4-4e78-99f9-c748f9babc85" providerId="ADAL" clId="{8826B44B-3791-4FC4-B948-8FBB12937951}" dt="2025-02-18T13:08:59.116" v="1" actId="47"/>
        <pc:sldMkLst>
          <pc:docMk/>
          <pc:sldMk cId="932316183" sldId="2147483610"/>
        </pc:sldMkLst>
      </pc:sldChg>
      <pc:sldChg chg="delSp">
        <pc:chgData name="James Tooles" userId="831746c4-f1a4-4e78-99f9-c748f9babc85" providerId="ADAL" clId="{8826B44B-3791-4FC4-B948-8FBB12937951}" dt="2025-02-18T13:09:41.036" v="4" actId="478"/>
        <pc:sldMkLst>
          <pc:docMk/>
          <pc:sldMk cId="1513042941" sldId="2147483614"/>
        </pc:sldMkLst>
        <pc:spChg chg="del">
          <ac:chgData name="James Tooles" userId="831746c4-f1a4-4e78-99f9-c748f9babc85" providerId="ADAL" clId="{8826B44B-3791-4FC4-B948-8FBB12937951}" dt="2025-02-18T13:09:41.036" v="4" actId="478"/>
          <ac:spMkLst>
            <pc:docMk/>
            <pc:sldMk cId="1513042941" sldId="2147483614"/>
            <ac:spMk id="2" creationId="{5FC25D94-ADA2-5E22-F72B-4D266AC3ACF1}"/>
          </ac:spMkLst>
        </pc:spChg>
        <pc:spChg chg="del">
          <ac:chgData name="James Tooles" userId="831746c4-f1a4-4e78-99f9-c748f9babc85" providerId="ADAL" clId="{8826B44B-3791-4FC4-B948-8FBB12937951}" dt="2025-02-18T13:09:41.036" v="4" actId="478"/>
          <ac:spMkLst>
            <pc:docMk/>
            <pc:sldMk cId="1513042941" sldId="2147483614"/>
            <ac:spMk id="11" creationId="{B091C647-DB65-EDA0-C5F8-45A606A36D2A}"/>
          </ac:spMkLst>
        </pc:spChg>
        <pc:picChg chg="del">
          <ac:chgData name="James Tooles" userId="831746c4-f1a4-4e78-99f9-c748f9babc85" providerId="ADAL" clId="{8826B44B-3791-4FC4-B948-8FBB12937951}" dt="2025-02-18T13:09:41.036" v="4" actId="478"/>
          <ac:picMkLst>
            <pc:docMk/>
            <pc:sldMk cId="1513042941" sldId="2147483614"/>
            <ac:picMk id="1026" creationId="{93DC5420-692B-423B-C0B4-79BE545AF8D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A42A9C-EB51-4134-B105-A54A993957D4}" type="datetimeFigureOut">
              <a:rPr lang="en-US" smtClean="0"/>
              <a:t>4/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CF94EB-0F90-4CAF-A60C-B21A127C6FAA}" type="slidenum">
              <a:rPr lang="en-US" smtClean="0"/>
              <a:t>‹#›</a:t>
            </a:fld>
            <a:endParaRPr lang="en-US"/>
          </a:p>
        </p:txBody>
      </p:sp>
    </p:spTree>
    <p:extLst>
      <p:ext uri="{BB962C8B-B14F-4D97-AF65-F5344CB8AC3E}">
        <p14:creationId xmlns:p14="http://schemas.microsoft.com/office/powerpoint/2010/main" val="3155430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9C4B2-708F-38B3-5005-4D8905DA6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EF6E8-2208-831C-45B6-1BC76CB57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519003-F464-551F-D480-7CFAB7C3E5E7}"/>
              </a:ext>
            </a:extLst>
          </p:cNvPr>
          <p:cNvSpPr>
            <a:spLocks noGrp="1"/>
          </p:cNvSpPr>
          <p:nvPr>
            <p:ph type="body" idx="1"/>
          </p:nvPr>
        </p:nvSpPr>
        <p:spPr/>
        <p:txBody>
          <a:bodyPr/>
          <a:lstStyle/>
          <a:p>
            <a:pPr algn="l" rtl="0" fontAlgn="base"/>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There are generally three ways to apply domain knowledge and share your data with your LLMs.</a:t>
            </a:r>
          </a:p>
          <a:p>
            <a:pPr algn="l" rtl="0" fontAlgn="base"/>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Sometimes you can get the job done by simply doing prompt engineering. This is particularly the case when you have a static situation and a single prompt where you can work on it until gives you the answers you want and then you are set.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Other times, fine-tuning can be an interesting option. While fine-tuning is not necessarily great for learning new facts, it's actually really good when you need your app to learn skills, for example, like company jargon, providing a different “tone” of response, etc.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Now, when it comes to learning facts, based on data that your application or your organization produces, retrieval-augmentation is the pattern to go for. </a:t>
            </a:r>
            <a:endParaRPr lang="en-US" b="0" i="0">
              <a:solidFill>
                <a:srgbClr val="000000"/>
              </a:solidFill>
              <a:effectLst/>
              <a:highlight>
                <a:srgbClr val="FFFFFF"/>
              </a:highlight>
            </a:endParaRPr>
          </a:p>
        </p:txBody>
      </p:sp>
      <p:sp>
        <p:nvSpPr>
          <p:cNvPr id="4" name="Header Placeholder 3">
            <a:extLst>
              <a:ext uri="{FF2B5EF4-FFF2-40B4-BE49-F238E27FC236}">
                <a16:creationId xmlns:a16="http://schemas.microsoft.com/office/drawing/2014/main" id="{946CD155-A126-A545-73EB-85C4B4E5F68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8976AC18-FE02-061E-313C-69508B65534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163AD6-12B7-0FF2-07E5-06AEFD73FD9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7/2025 9:08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9A318B7D-558B-A80E-701E-E2D9D9A2490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821536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f you’re going to use your own data in your </a:t>
            </a:r>
            <a:r>
              <a:rPr lang="en-US" err="1"/>
              <a:t>GenAI</a:t>
            </a:r>
            <a:r>
              <a:rPr lang="en-US"/>
              <a:t> app, Azure AI Search acts as the retrieval system in your RAG architecture: It incorporates the most relevant, domain specific knowledge for every query, so your application provides the responses you expect. </a:t>
            </a:r>
          </a:p>
          <a:p>
            <a:pPr>
              <a:defRPr/>
            </a:pPr>
            <a:endParaRPr lang="en-US"/>
          </a:p>
          <a:p>
            <a:pPr>
              <a:defRPr/>
            </a:pPr>
            <a:r>
              <a:rPr lang="en-US"/>
              <a:t>A common way to describe RAG is that you are “grounding” your AI application with your data.</a:t>
            </a:r>
          </a:p>
          <a:p>
            <a:pPr>
              <a:defRPr/>
            </a:pPr>
            <a:r>
              <a:rPr lang="en-US"/>
              <a:t> </a:t>
            </a:r>
          </a:p>
          <a:p>
            <a:pPr>
              <a:defRPr/>
            </a:pPr>
            <a:r>
              <a:rPr lang="en-US"/>
              <a:t>If you are building an app using an AI model, you probably want to create an experience based on your own data, versus public web data. RAG is a way to incorporate your data into your </a:t>
            </a:r>
            <a:r>
              <a:rPr lang="en-US" err="1"/>
              <a:t>GenAI</a:t>
            </a:r>
            <a:r>
              <a:rPr lang="en-US"/>
              <a:t> application.</a:t>
            </a:r>
          </a:p>
          <a:p>
            <a:pPr>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Out of the box, an AI model has a limited set of knowledge. RAG enables your app to learn new facts or knowledge outside what the model was originally trained on. This way, your app isn’t limited to a static/outdated datas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n important point to note, that with RAG, the knowledge you provide is externalized, and not incorporated into the model itself. This ensures you remain in control of your data, at all times.</a:t>
            </a:r>
          </a:p>
          <a:p>
            <a:pPr>
              <a:defRPr/>
            </a:pPr>
            <a:endParaRPr lang="en-US"/>
          </a:p>
          <a:p>
            <a:pPr>
              <a:defRPr/>
            </a:pPr>
            <a:r>
              <a:rPr lang="en-US"/>
              <a:t>When implementing RAG, a critical component is the "Retrieval system" which surfaces the right information from your data, that's needed to answer any particular question or interaction. </a:t>
            </a:r>
          </a:p>
          <a:p>
            <a:pPr>
              <a:defRPr/>
            </a:pPr>
            <a:endParaRPr lang="en-US"/>
          </a:p>
          <a:p>
            <a:pPr>
              <a:defRPr/>
            </a:pPr>
            <a:r>
              <a:rPr lang="en-US"/>
              <a:t>From there, you use the language model like Azure OpenAI GPT to apply reasoning and produce a relevant response.</a:t>
            </a:r>
          </a:p>
          <a:p>
            <a:pPr>
              <a:defRPr/>
            </a:pPr>
            <a:endParaRPr lang="en-US"/>
          </a:p>
          <a:p>
            <a:pPr>
              <a:defRPr/>
            </a:pPr>
            <a:r>
              <a:rPr lang="en-US"/>
              <a:t>When customers build their </a:t>
            </a:r>
            <a:r>
              <a:rPr lang="en-US" err="1"/>
              <a:t>GenAI</a:t>
            </a:r>
            <a:r>
              <a:rPr lang="en-US"/>
              <a:t> applications, Azure AI Search is used as the "retrieval system" in their RAG stack.</a:t>
            </a:r>
          </a:p>
          <a:p>
            <a:pPr>
              <a:defRPr/>
            </a:pPr>
            <a:endParaRPr lang="en-US"/>
          </a:p>
          <a:p>
            <a:pPr>
              <a:defRPr/>
            </a:pPr>
            <a:endParaRPr lang="en-US"/>
          </a:p>
          <a:p>
            <a:pPr>
              <a:defRPr/>
            </a:pPr>
            <a:endParaRPr lang="en-US"/>
          </a:p>
          <a:p>
            <a:pPr>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BBE0D09-D30A-40CF-BEA9-771DFCB7639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948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ing your data with prompts is a powerful concept. In this example, a question-answering prompt is used with 3 distinct pieces. The prompt starts with framing, providing the Generative AI with the context it needs on how to behave. The user-provided question is clearly defined separate from the framing. Finally, clearly formatted sources are provided at the bottom of the prompt. The Generative AI synthesizes all this information together and produces a correct response.</a:t>
            </a:r>
            <a:br>
              <a:rPr lang="en-US"/>
            </a:br>
            <a:r>
              <a:rPr lang="en-US"/>
              <a:t>Note, this is just an example and you may want to consider thing in your prompt like instructions to reference citations in sources, </a:t>
            </a:r>
            <a:r>
              <a:rPr lang="en-US" err="1"/>
              <a:t>explitcly</a:t>
            </a:r>
            <a:r>
              <a:rPr lang="en-US"/>
              <a:t> stating “I don’t know” when the data is not in the data sources”, etc.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7/2025 9:08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499240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 this scenario where there's a highly relevant result, but it wasn't included in the top sources provided. In this case, the result is practically invisible to the system. This illustrates the significance of the retriever's role.</a:t>
            </a:r>
          </a:p>
          <a:p>
            <a:endParaRPr lang="en-US"/>
          </a:p>
          <a:p>
            <a:r>
              <a:rPr lang="en-US"/>
              <a:t>If the retriever fails to return the most relevant results, it directly affects the completeness and accuracy of the final answer. Remember, the RAG model relies heavily on the retriever to pull in the most pertinent documents or data to generate the best possible respons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7/2025 9:08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80183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best practices when evaluating RAG:</a:t>
            </a:r>
          </a:p>
          <a:p>
            <a:endParaRPr lang="en-US"/>
          </a:p>
          <a:p>
            <a:pPr marL="171450" indent="-171450">
              <a:spcBef>
                <a:spcPts val="0"/>
              </a:spcBef>
              <a:spcAft>
                <a:spcPts val="600"/>
              </a:spcAft>
              <a:buFont typeface="Arial" panose="020B0604020202020204" pitchFamily="34" charset="0"/>
              <a:buChar char="•"/>
            </a:pPr>
            <a:r>
              <a:rPr lang="en-US" sz="1200">
                <a:latin typeface="+mn-lt"/>
              </a:rPr>
              <a:t>Model Evaluation: Evaluate your model regularly using various metrics to ensure it meets your desired outcomes.</a:t>
            </a:r>
          </a:p>
          <a:p>
            <a:pPr marL="171450" indent="-171450">
              <a:spcBef>
                <a:spcPts val="0"/>
              </a:spcBef>
              <a:spcAft>
                <a:spcPts val="600"/>
              </a:spcAft>
              <a:buFont typeface="Arial" panose="020B0604020202020204" pitchFamily="34" charset="0"/>
              <a:buChar char="•"/>
            </a:pPr>
            <a:r>
              <a:rPr lang="en-US" sz="1200">
                <a:latin typeface="+mn-lt"/>
              </a:rPr>
              <a:t>Understand User Intent: Classify user intents as navigational, informational, or transactional. This aids in tailoring responses effectively.</a:t>
            </a:r>
          </a:p>
          <a:p>
            <a:pPr marL="171450" indent="-171450">
              <a:spcBef>
                <a:spcPts val="0"/>
              </a:spcBef>
              <a:spcAft>
                <a:spcPts val="600"/>
              </a:spcAft>
              <a:buFont typeface="Arial" panose="020B0604020202020204" pitchFamily="34" charset="0"/>
              <a:buChar char="•"/>
            </a:pPr>
            <a:r>
              <a:rPr lang="en-US" sz="1200">
                <a:latin typeface="+mn-lt"/>
              </a:rPr>
              <a:t>Identify Query Types: Concept-seeking, fact-seeking, keyword, low query/doc term overlap, misspelled, long, medium, and short queries help uncover user intent and evaluate system performance.</a:t>
            </a:r>
          </a:p>
          <a:p>
            <a:pPr marL="171450" indent="-171450">
              <a:spcBef>
                <a:spcPts val="0"/>
              </a:spcBef>
              <a:spcAft>
                <a:spcPts val="600"/>
              </a:spcAft>
              <a:buFont typeface="Arial" panose="020B0604020202020204" pitchFamily="34" charset="0"/>
              <a:buChar char="•"/>
            </a:pPr>
            <a:r>
              <a:rPr lang="en-US" sz="1200">
                <a:latin typeface="+mn-lt"/>
              </a:rPr>
              <a:t>Use Comprehensive Metrics: Employ a mix of lexical-based (Precision and Recall, F1 Score, Word Error Rate), semantic-based (Semantic Textual Similarity, Word Embedding Similarity, BLEU), and combined metrics (ROUGE, </a:t>
            </a:r>
            <a:r>
              <a:rPr lang="en-US" sz="1200" err="1">
                <a:latin typeface="+mn-lt"/>
              </a:rPr>
              <a:t>BERTScore</a:t>
            </a:r>
            <a:r>
              <a:rPr lang="en-US" sz="1200">
                <a:latin typeface="+mn-lt"/>
              </a:rPr>
              <a:t>) for a holistic evaluation.</a:t>
            </a:r>
          </a:p>
          <a:p>
            <a:pPr marL="171450" indent="-171450">
              <a:spcBef>
                <a:spcPts val="0"/>
              </a:spcBef>
              <a:spcAft>
                <a:spcPts val="600"/>
              </a:spcAft>
              <a:buFont typeface="Arial" panose="020B0604020202020204" pitchFamily="34" charset="0"/>
              <a:buChar char="•"/>
            </a:pPr>
            <a:r>
              <a:rPr lang="en-US" sz="1200">
                <a:latin typeface="+mn-lt"/>
              </a:rPr>
              <a:t>Keep in mind top K (@K) retrieved Chunks:  Granular perspective on how many Chunks to retrieve.</a:t>
            </a:r>
          </a:p>
          <a:p>
            <a:pPr marL="171450" indent="-171450">
              <a:spcBef>
                <a:spcPts val="0"/>
              </a:spcBef>
              <a:spcAft>
                <a:spcPts val="600"/>
              </a:spcAft>
              <a:buFont typeface="Arial" panose="020B0604020202020204" pitchFamily="34" charset="0"/>
              <a:buChar char="•"/>
            </a:pPr>
            <a:r>
              <a:rPr lang="en-US" sz="1200">
                <a:latin typeface="+mn-lt"/>
              </a:rPr>
              <a:t>Implement Ranking Metrics: Utilize </a:t>
            </a:r>
            <a:r>
              <a:rPr lang="en-US" sz="1200" err="1">
                <a:latin typeface="+mn-lt"/>
              </a:rPr>
              <a:t>Recall@K</a:t>
            </a:r>
            <a:r>
              <a:rPr lang="en-US" sz="1200">
                <a:latin typeface="+mn-lt"/>
              </a:rPr>
              <a:t>, Mean Reciprocal Rank, Mean Average </a:t>
            </a:r>
            <a:r>
              <a:rPr lang="en-US" sz="1200" err="1">
                <a:latin typeface="+mn-lt"/>
              </a:rPr>
              <a:t>Precision@K</a:t>
            </a:r>
            <a:r>
              <a:rPr lang="en-US" sz="1200">
                <a:latin typeface="+mn-lt"/>
              </a:rPr>
              <a:t>, and Normalized Discounted Cumulative Gain for assessing the ranking quality of the system.</a:t>
            </a:r>
          </a:p>
          <a:p>
            <a:pPr marL="171450" indent="-171450">
              <a:spcBef>
                <a:spcPts val="0"/>
              </a:spcBef>
              <a:spcAft>
                <a:spcPts val="600"/>
              </a:spcAft>
              <a:buFont typeface="Arial" panose="020B0604020202020204" pitchFamily="34" charset="0"/>
              <a:buChar char="•"/>
            </a:pPr>
            <a:r>
              <a:rPr lang="en-US" sz="1200">
                <a:latin typeface="+mn-lt"/>
              </a:rPr>
              <a:t>Regularly Monitor Performance: Continuously track and optimize the system's performance using these metrics to ensure the highest level of user satisfaction and system effectiveness.</a:t>
            </a:r>
          </a:p>
          <a:p>
            <a:pPr marL="171450" indent="-171450">
              <a:spcBef>
                <a:spcPts val="0"/>
              </a:spcBef>
              <a:spcAft>
                <a:spcPts val="600"/>
              </a:spcAft>
              <a:buFont typeface="Arial" panose="020B0604020202020204" pitchFamily="34" charset="0"/>
              <a:buChar char="•"/>
            </a:pPr>
            <a:r>
              <a:rPr lang="en-US" sz="1200">
                <a:latin typeface="+mn-lt"/>
              </a:rPr>
              <a:t>User Feedback: Incorporate user feedback to improve system for utility.</a:t>
            </a:r>
          </a:p>
          <a:p>
            <a:pPr>
              <a:spcBef>
                <a:spcPts val="0"/>
              </a:spcBef>
              <a:spcAft>
                <a:spcPts val="600"/>
              </a:spcAft>
            </a:pPr>
            <a:endParaRPr lang="en-US" sz="1200">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a:latin typeface="+mn-lt"/>
              </a:rPr>
              <a:t>Azure’s RAG Evaluation tool: </a:t>
            </a:r>
            <a:r>
              <a:rPr lang="en-US" sz="1200">
                <a:latin typeface="+mn-lt"/>
                <a:hlinkClick r:id="rId3"/>
              </a:rPr>
              <a:t>Azure ML Prompt Flow</a:t>
            </a:r>
            <a:r>
              <a:rPr lang="en-US" sz="1200">
                <a:latin typeface="+mn-lt"/>
              </a:rPr>
              <a:t>!</a:t>
            </a:r>
          </a:p>
          <a:p>
            <a:pPr>
              <a:spcBef>
                <a:spcPts val="0"/>
              </a:spcBef>
              <a:spcAft>
                <a:spcPts val="600"/>
              </a:spcAft>
            </a:pPr>
            <a:endParaRPr lang="en-US" sz="1200">
              <a:latin typeface="+mn-lt"/>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7/2025 9:08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7513359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have a summary of RAG anatomy. this is a process involving several steps to facilitate efficient data retrieval and user interaction.</a:t>
            </a:r>
          </a:p>
          <a:p>
            <a:endParaRPr lang="en-US"/>
          </a:p>
          <a:p>
            <a:r>
              <a:rPr lang="en-US"/>
              <a:t>1. Data ingestion and preparation: This is the initial stage where data is collected and prepared for further processing. It involves collecting data from various sources, cleaning and organizing it for further use.</a:t>
            </a:r>
          </a:p>
          <a:p>
            <a:endParaRPr lang="en-US"/>
          </a:p>
          <a:p>
            <a:r>
              <a:rPr lang="en-US"/>
              <a:t>2. Chunking: This is a process of breaking down the data into manageable pieces or 'Chunks'. This allows for easier processing and analysis of the information, and to respect the maximum inputs of AI models.</a:t>
            </a:r>
          </a:p>
          <a:p>
            <a:endParaRPr lang="en-US"/>
          </a:p>
          <a:p>
            <a:r>
              <a:rPr lang="en-US"/>
              <a:t>3. Indexing: This step involves transforming data and using vector embeddings to create an AI search index. The idea is to map and organize the data in a way that makes it easily searchable. Vector embeddings are used to represent words or phrases in a numerical form that can be compared for similarity. Questions like whether to do data transformation, use vector embeddings, or any indexing mappings are addressed in this phase.</a:t>
            </a:r>
          </a:p>
          <a:p>
            <a:endParaRPr lang="en-US"/>
          </a:p>
          <a:p>
            <a:r>
              <a:rPr lang="en-US"/>
              <a:t>4. User Interface: This is the point of interaction between the user and the AI system. Here, users can input their queries to the chatbot, which uses Natural Language Processing (NLP) and the previously processed data to provide accurate and relevant responses.</a:t>
            </a:r>
          </a:p>
          <a:p>
            <a:endParaRPr lang="en-US"/>
          </a:p>
          <a:p>
            <a:r>
              <a:rPr lang="en-US"/>
              <a:t>5. Orchestration (Including prompt): This involves prompting the Language Model (LLM) to generate the retriever query. The system is prepared to ask specific questions based on the user's initial query and communicates with the retriever to get the most relevant responses.</a:t>
            </a:r>
          </a:p>
          <a:p>
            <a:endParaRPr lang="en-US"/>
          </a:p>
          <a:p>
            <a:r>
              <a:rPr lang="en-US"/>
              <a:t>6. Data Retrieving: This step involves deciding on the type of approach to use for data retrieval - vector, semantic, keyword or a hybrid approach. It also involves deciding on the use of filters, facets, scoring profiles and determining the number of results to be used.</a:t>
            </a:r>
          </a:p>
          <a:p>
            <a:endParaRPr lang="en-US"/>
          </a:p>
          <a:p>
            <a:r>
              <a:rPr lang="en-US"/>
              <a:t>7. Orchestration: After retrieving the data, it is once again communicated and coordinated with the LLM.  The LLM is prompted to summarize the retrieved data and create a response that will be returned to the user. This response should contain the most relevant sections replied by the retriever (AI search).</a:t>
            </a: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For steps 2 and 3 highlighted in green, AI Studio, Azure OAI on your data and AI Search can help for many scenarios with the Chunking, Vectorization and data enrichment/transformation if needed and finally data index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7/2025 9:08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78244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1DB9E-7AF0-DDB8-BAD8-75F9E304B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2CC1F-3AE8-7B6F-CF7B-62E4615E1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0417C-B4CC-5198-754F-FF672BFDC592}"/>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D55CA237-DC80-3100-DD1E-6F54A1EDA9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68832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23F15-4E22-9671-46EC-63E8C6F327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E496C2-9606-BFFD-2B10-F705D0098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B8D7A-7FF2-D334-4C06-7E01F9B9ADAD}"/>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4364DAD-D160-0DFF-E12E-70FB0F126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6721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61EC6-73C2-A8C5-B4A4-2E52A193BB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D27DA9-78DD-1059-497A-26B3676459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B47DAD-CC9B-3628-447E-EAD33A023D68}"/>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55E787E8-C482-45D0-296B-5EF5C5AB65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4542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2819-C2F5-09B3-2023-4B2FFE7E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A2CB8-5E7B-6653-183E-81C59B6B3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BB697-C8C9-4491-AA4B-17959FF29B70}"/>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05F6105-B2A5-D311-14BD-35BD82F544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70247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5B714-745D-EA32-4EA1-0DCD609C3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7CBE16-9E53-FD56-FD40-AD0AA596A3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1F3C80-EA27-858F-AC18-445A46E4710F}"/>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0D858DE2-8F85-312A-6793-1EAE96F961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87874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EB2D1-47F0-7663-9977-6C017675B0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A8447C-37AE-2A09-A8C2-14B5E9FFCC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81199A-4CC9-F044-ABD6-CBAFE9AD8B3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C2DC00F-E48B-FFC8-FD3E-B358BD31BD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5757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03267-8370-A2FF-AF67-5DE436BC1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00605-B797-D7DE-E090-6AB2A51099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C3F9F-A591-F88B-3A1C-6B2C6F12A9BA}"/>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E5ADD343-96FE-AF13-0BAB-FD11458DC2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72794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amp; Intro – Dave  </a:t>
            </a:r>
          </a:p>
          <a:p>
            <a:r>
              <a:rPr lang="en-US"/>
              <a:t>Setting the Stage - James &amp; Lali</a:t>
            </a:r>
          </a:p>
          <a:p>
            <a:r>
              <a:rPr lang="en-US"/>
              <a:t>Show &amp; Tell - Amul</a:t>
            </a:r>
          </a:p>
        </p:txBody>
      </p:sp>
      <p:sp>
        <p:nvSpPr>
          <p:cNvPr id="4" name="Slide Number Placeholder 3"/>
          <p:cNvSpPr>
            <a:spLocks noGrp="1"/>
          </p:cNvSpPr>
          <p:nvPr>
            <p:ph type="sldNum" sz="quarter" idx="5"/>
          </p:nvPr>
        </p:nvSpPr>
        <p:spPr/>
        <p:txBody>
          <a:bodyPr/>
          <a:lstStyle/>
          <a:p>
            <a:fld id="{2DCF94EB-0F90-4CAF-A60C-B21A127C6FAA}" type="slidenum">
              <a:rPr lang="en-US" smtClean="0"/>
              <a:t>6</a:t>
            </a:fld>
            <a:endParaRPr lang="en-US"/>
          </a:p>
        </p:txBody>
      </p:sp>
    </p:spTree>
    <p:extLst>
      <p:ext uri="{BB962C8B-B14F-4D97-AF65-F5344CB8AC3E}">
        <p14:creationId xmlns:p14="http://schemas.microsoft.com/office/powerpoint/2010/main" val="3102549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652E4-5120-44D6-918A-894636DEF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69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0592-758C-EC3D-1C24-E6C68EB84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5676-D60D-5416-968D-0C66EFBD3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6C905-03AB-1E94-2FED-5121EDA8FF7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48F444B-4069-5B83-7EDC-14E071853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540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31DBB-42FF-46A8-3034-E1DFEBBDDA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6BBAB-AD76-0B10-A0EE-817D54CF6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01933-184C-6C59-237E-977EF275B01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F7C6C16-A9B9-81D6-B402-818B40A0E3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1911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502E-C809-A520-90D2-4CBA9E90F0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C831D-B43D-D248-4AE9-614ACE10EB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B4BE0E-D6AE-B244-F531-BD07AF14D07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1C746C0-9997-DE43-9634-727CC8AF8A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9593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51.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5" Type="http://schemas.openxmlformats.org/officeDocument/2006/relationships/image" Target="../media/image68.png"/><Relationship Id="rId4" Type="http://schemas.openxmlformats.org/officeDocument/2006/relationships/image" Target="../media/image67.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4" Type="http://schemas.openxmlformats.org/officeDocument/2006/relationships/image" Target="../media/image73.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8.xml"/><Relationship Id="rId5" Type="http://schemas.openxmlformats.org/officeDocument/2006/relationships/image" Target="../media/image83.png"/><Relationship Id="rId4" Type="http://schemas.openxmlformats.org/officeDocument/2006/relationships/image" Target="../media/image5.emf"/></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jpeg"/><Relationship Id="rId1" Type="http://schemas.openxmlformats.org/officeDocument/2006/relationships/slideMaster" Target="../slideMasters/slideMaster8.xml"/><Relationship Id="rId4" Type="http://schemas.openxmlformats.org/officeDocument/2006/relationships/image" Target="../media/image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 Id="rId4" Type="http://schemas.openxmlformats.org/officeDocument/2006/relationships/image" Target="../media/image83.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6.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8.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0BB80-6002-9F44-CC30-9D74B357D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89A7A-2899-9481-5162-C49F6B17ED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0D3E0F-DBFB-6A6B-3FE5-DEBEBC6B0356}"/>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5" name="Footer Placeholder 4">
            <a:extLst>
              <a:ext uri="{FF2B5EF4-FFF2-40B4-BE49-F238E27FC236}">
                <a16:creationId xmlns:a16="http://schemas.microsoft.com/office/drawing/2014/main" id="{C0757B16-DEF4-FB41-F4B1-D0E15619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3C440-4812-57BB-3A66-EBA6B402E38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61156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7DB1-2A33-871B-6BEB-0D6FBBA243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1B48E-9EA7-5668-52EA-17219C6CDC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2E8CA8-272B-1844-C494-0859B394EA0D}"/>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5" name="Footer Placeholder 4">
            <a:extLst>
              <a:ext uri="{FF2B5EF4-FFF2-40B4-BE49-F238E27FC236}">
                <a16:creationId xmlns:a16="http://schemas.microsoft.com/office/drawing/2014/main" id="{18EA8F2F-AA32-5EEE-F28B-383666EAC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9C129-5594-7D0E-0652-706062A1424E}"/>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3426963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84378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52120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767110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205911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34274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54742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033818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08243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5946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1592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8ACF-98A8-9B56-5AC0-2FB13ED292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A7FF54-3FAB-B875-9C08-EFB2F3E746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602E-E075-F48D-0581-65D5EFB7F927}"/>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5" name="Footer Placeholder 4">
            <a:extLst>
              <a:ext uri="{FF2B5EF4-FFF2-40B4-BE49-F238E27FC236}">
                <a16:creationId xmlns:a16="http://schemas.microsoft.com/office/drawing/2014/main" id="{4219DB90-512D-221E-3322-D2F0292DF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D21D1-4AD8-2EB5-539E-62057831D676}"/>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0760171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623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878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4100782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18851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10040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760634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0514459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9575613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291551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63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C161-EC7A-788B-789D-5ED7F244D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301D06-9356-ACBE-54CB-9018D8035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9364C7-E4EA-0423-1C47-893DB61E8689}"/>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5" name="Footer Placeholder 4">
            <a:extLst>
              <a:ext uri="{FF2B5EF4-FFF2-40B4-BE49-F238E27FC236}">
                <a16:creationId xmlns:a16="http://schemas.microsoft.com/office/drawing/2014/main" id="{FF9D55E0-9E93-ECAD-C613-23E04EBC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61F42-77BE-DAB3-8F30-5615F9577356}"/>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6580023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9511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33052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8541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38105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5803079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427670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302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4129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0635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2092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83040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28A2-6390-9E3D-413F-477659D8F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DDBE1-8953-2204-2A70-17874F910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57C74E-F654-B3F5-0491-579C12821D95}"/>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5" name="Footer Placeholder 4">
            <a:extLst>
              <a:ext uri="{FF2B5EF4-FFF2-40B4-BE49-F238E27FC236}">
                <a16:creationId xmlns:a16="http://schemas.microsoft.com/office/drawing/2014/main" id="{C2F29C86-5801-EB5A-5FEB-2D253E49ED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D964C-9794-963C-FEAF-6667EC8AF324}"/>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3419500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1646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9227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89542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8026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20219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18300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613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236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908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62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3967-2ADD-408A-1705-0F7546E7F7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BE4D16-34E0-19DB-763B-A27BFA3346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B807F6-D5B1-115F-CD34-2B2ED6B48A45}"/>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5" name="Footer Placeholder 4">
            <a:extLst>
              <a:ext uri="{FF2B5EF4-FFF2-40B4-BE49-F238E27FC236}">
                <a16:creationId xmlns:a16="http://schemas.microsoft.com/office/drawing/2014/main" id="{FD26E2CD-69D3-19CF-6B8A-EFB5669146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25419-62AE-34EE-45A2-EB4D802B0FB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67024115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04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227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31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600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29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768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7334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94131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885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93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518D-E59F-6C79-B65F-F90FFC4A3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09FEDB-7FE1-C015-4E33-9A04788ACC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612C02-4D2C-2DE1-1667-26592BFB53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33C475-908D-C279-FB94-C32DBE6EA2BC}"/>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6" name="Footer Placeholder 5">
            <a:extLst>
              <a:ext uri="{FF2B5EF4-FFF2-40B4-BE49-F238E27FC236}">
                <a16:creationId xmlns:a16="http://schemas.microsoft.com/office/drawing/2014/main" id="{98420BF2-048F-E8B9-B8D8-20A3DBA681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6F92-DCD5-356E-020D-8D801B944F53}"/>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5752664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23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5262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72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06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317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151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154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00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781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045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05FD-C3AA-C1F6-EB43-AE28A8C2AE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FDC15A-5D33-93CE-0069-194B9C1850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1E1737-83EC-9725-BC37-4E03D85B62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B45006-AEA2-8A2B-F4FA-1AF720FC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93BB3-6D1C-DBF0-DCE2-728D752CAF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00BD1F-5BE6-83F5-6845-FB44791AB34C}"/>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8" name="Footer Placeholder 7">
            <a:extLst>
              <a:ext uri="{FF2B5EF4-FFF2-40B4-BE49-F238E27FC236}">
                <a16:creationId xmlns:a16="http://schemas.microsoft.com/office/drawing/2014/main" id="{7FEC6ED5-A12F-3040-87D6-6D59C905DD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E4252E-3F2E-EF33-B6D2-0D9038FC753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7005195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68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609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932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482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91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203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4557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80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83253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46708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8B5-0E60-78A2-001B-7CC770B956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E40E0-9A14-53F9-C978-AACDEE2DD8B8}"/>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4" name="Footer Placeholder 3">
            <a:extLst>
              <a:ext uri="{FF2B5EF4-FFF2-40B4-BE49-F238E27FC236}">
                <a16:creationId xmlns:a16="http://schemas.microsoft.com/office/drawing/2014/main" id="{010A5925-FE46-4F6C-9AEC-76B75CD7D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3D6FD5-B299-7DBF-C67B-DFF2501BD20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7090574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1">
            <a:lumMod val="9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04578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bg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bg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24448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64982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85538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49394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60865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89381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28251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721457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996228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501DD-9093-2DB2-6C2B-3E64D4690216}"/>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3" name="Footer Placeholder 2">
            <a:extLst>
              <a:ext uri="{FF2B5EF4-FFF2-40B4-BE49-F238E27FC236}">
                <a16:creationId xmlns:a16="http://schemas.microsoft.com/office/drawing/2014/main" id="{30187DAD-2925-2FB5-3605-8C3D1B6361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144D09-7779-D9E3-09FF-7F726721B61D}"/>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2490026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159998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3673465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1115124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647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Quote author</a:t>
            </a:r>
          </a:p>
        </p:txBody>
      </p:sp>
    </p:spTree>
    <p:extLst>
      <p:ext uri="{BB962C8B-B14F-4D97-AF65-F5344CB8AC3E}">
        <p14:creationId xmlns:p14="http://schemas.microsoft.com/office/powerpoint/2010/main" val="294439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5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62107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80406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613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0098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A63C8-818A-5B27-1490-F4C510A0E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D881BA-90FC-C5E8-8A79-714920FB45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AFE479-83FE-997A-CF57-C9A3139F9B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3CC515-9F09-FFAD-0E34-C457BFAC88A9}"/>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6" name="Footer Placeholder 5">
            <a:extLst>
              <a:ext uri="{FF2B5EF4-FFF2-40B4-BE49-F238E27FC236}">
                <a16:creationId xmlns:a16="http://schemas.microsoft.com/office/drawing/2014/main" id="{5468F192-B557-0BB6-97B4-F09A6FD8D6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7B6E7-BA6E-ADA5-90D2-0FC753B69691}"/>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2057923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445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63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640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10410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295986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3554F-AA2D-B346-7744-128B71383C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FCEF67-5B91-EFF4-0EDA-FEA8C457A4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CDF190-C6BA-B691-6A1E-E3C20EB0FFA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FFFD98-AE07-2EF5-6B24-5A08935AE1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7B50D5-5065-1A22-08D3-039A2AF9F3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386C2B-39FF-8272-BED8-6CE40FFDAD60}"/>
              </a:ext>
            </a:extLst>
          </p:cNvPr>
          <p:cNvSpPr>
            <a:spLocks noGrp="1"/>
          </p:cNvSpPr>
          <p:nvPr>
            <p:ph type="dt" sz="half" idx="10"/>
          </p:nvPr>
        </p:nvSpPr>
        <p:spPr/>
        <p:txBody>
          <a:bodyPr/>
          <a:lstStyle/>
          <a:p>
            <a:fld id="{9EF63F95-0414-4862-AD24-08EF55CE96CE}" type="datetimeFigureOut">
              <a:rPr lang="en-US" smtClean="0"/>
              <a:t>4/17/2025</a:t>
            </a:fld>
            <a:endParaRPr lang="en-US"/>
          </a:p>
        </p:txBody>
      </p:sp>
      <p:sp>
        <p:nvSpPr>
          <p:cNvPr id="8" name="Footer Placeholder 7">
            <a:extLst>
              <a:ext uri="{FF2B5EF4-FFF2-40B4-BE49-F238E27FC236}">
                <a16:creationId xmlns:a16="http://schemas.microsoft.com/office/drawing/2014/main" id="{D49D7B81-E03A-AE11-A398-3B37F008F2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B5D8A3B-BDE4-84A4-F457-9CE4FDFB2533}"/>
              </a:ext>
            </a:extLst>
          </p:cNvPr>
          <p:cNvSpPr>
            <a:spLocks noGrp="1"/>
          </p:cNvSpPr>
          <p:nvPr>
            <p:ph type="sldNum" sz="quarter" idx="12"/>
          </p:nvPr>
        </p:nvSpPr>
        <p:spPr/>
        <p:txBody>
          <a:bodyPr/>
          <a:lstStyle/>
          <a:p>
            <a:fld id="{859EA4DC-1560-4C82-8F65-72992A8FC9F6}" type="slidenum">
              <a:rPr lang="en-US" smtClean="0"/>
              <a:t>‹#›</a:t>
            </a:fld>
            <a:endParaRPr lang="en-US"/>
          </a:p>
        </p:txBody>
      </p:sp>
    </p:spTree>
    <p:extLst>
      <p:ext uri="{BB962C8B-B14F-4D97-AF65-F5344CB8AC3E}">
        <p14:creationId xmlns:p14="http://schemas.microsoft.com/office/powerpoint/2010/main" val="30777094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1329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accent2">
                    <a:lumMod val="40000"/>
                    <a:lumOff val="60000"/>
                  </a:schemeClr>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698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6751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57891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195770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5058-AE5D-E168-65F2-DCD9A7F009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2472E-82D5-5E67-DEF6-537A41AE6A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87D8CF-AFB5-8CDF-B6CF-6CB14AA1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8E4179-EEB5-2D8D-1A05-7CFD418376A9}"/>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6" name="Footer Placeholder 5">
            <a:extLst>
              <a:ext uri="{FF2B5EF4-FFF2-40B4-BE49-F238E27FC236}">
                <a16:creationId xmlns:a16="http://schemas.microsoft.com/office/drawing/2014/main" id="{59B99A8E-8BC8-C901-8F03-E376A03A98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9B3618-E1D8-5FA3-FB1A-83EB26AA780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0603227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534362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93656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1359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07434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30824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83765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1917542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62187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86518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77313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3BE4-3E04-4524-7CF6-4006EFCCB5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E88CE3-3C80-AF17-A4A0-CB4838DB16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505D5-051E-D2B9-11EF-A5771CAAEE45}"/>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5" name="Footer Placeholder 4">
            <a:extLst>
              <a:ext uri="{FF2B5EF4-FFF2-40B4-BE49-F238E27FC236}">
                <a16:creationId xmlns:a16="http://schemas.microsoft.com/office/drawing/2014/main" id="{797AA1F8-36EE-4EB1-F427-1958C7753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9A5F4-416E-97E5-7C84-AC5539F45A3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32786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1947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2" name="Picture 21" descr="A close up of a glass&#10;&#10;Description automatically generated">
            <a:extLst>
              <a:ext uri="{FF2B5EF4-FFF2-40B4-BE49-F238E27FC236}">
                <a16:creationId xmlns:a16="http://schemas.microsoft.com/office/drawing/2014/main" id="{04B82389-A288-79EC-B582-7E217BEB9415}"/>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39997" b="39923"/>
          <a:stretch/>
        </p:blipFill>
        <p:spPr>
          <a:xfrm>
            <a:off x="0" y="0"/>
            <a:ext cx="12186432"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5000558B-1EBE-9FFA-7371-FE380B4EFD2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55862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6" name="Picture 35" descr="A close up of a glass&#10;&#10;Description automatically generated">
            <a:extLst>
              <a:ext uri="{FF2B5EF4-FFF2-40B4-BE49-F238E27FC236}">
                <a16:creationId xmlns:a16="http://schemas.microsoft.com/office/drawing/2014/main" id="{ECD91DE9-7B53-55CB-453E-D1BEFF929FC7}"/>
              </a:ext>
            </a:extLst>
          </p:cNvPr>
          <p:cNvPicPr>
            <a:picLocks noChangeAspect="1"/>
          </p:cNvPicPr>
          <p:nvPr userDrawn="1"/>
        </p:nvPicPr>
        <p:blipFill rotWithShape="1">
          <a:blip r:embed="rId2">
            <a:clrChange>
              <a:clrFrom>
                <a:srgbClr val="8B8B8B"/>
              </a:clrFrom>
              <a:clrTo>
                <a:srgbClr val="8B8B8B">
                  <a:alpha val="0"/>
                </a:srgbClr>
              </a:clrTo>
            </a:clrChange>
            <a:alphaModFix amt="50000"/>
            <a:extLst>
              <a:ext uri="{28A0092B-C50C-407E-A947-70E740481C1C}">
                <a14:useLocalDpi xmlns:a14="http://schemas.microsoft.com/office/drawing/2010/main" val="0"/>
              </a:ext>
            </a:extLst>
          </a:blip>
          <a:srcRect l="1" t="-1" r="44" b="-77"/>
          <a:stretch/>
        </p:blipFill>
        <p:spPr>
          <a:xfrm>
            <a:off x="0" y="0"/>
            <a:ext cx="12186432" cy="6858000"/>
          </a:xfrm>
          <a:prstGeom prst="rect">
            <a:avLst/>
          </a:prstGeom>
          <a:solidFill>
            <a:srgbClr val="F4F2EF"/>
          </a:solidFill>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4BEDD87-3AA7-3305-5FE5-BA97EE53FCC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85977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06134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639911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8" name="Picture 7" descr="A close up of a colorful paper&#10;&#10;Description automatically generated">
            <a:extLst>
              <a:ext uri="{FF2B5EF4-FFF2-40B4-BE49-F238E27FC236}">
                <a16:creationId xmlns:a16="http://schemas.microsoft.com/office/drawing/2014/main" id="{4098A1A4-72D7-9974-7700-B4D128ACED4F}"/>
              </a:ext>
            </a:extLst>
          </p:cNvPr>
          <p:cNvPicPr>
            <a:picLocks noChangeAspect="1"/>
          </p:cNvPicPr>
          <p:nvPr userDrawn="1"/>
        </p:nvPicPr>
        <p:blipFill rotWithShape="1">
          <a:blip r:embed="rId2"/>
          <a:srcRect l="53283" r="2869"/>
          <a:stretch/>
        </p:blipFill>
        <p:spPr>
          <a:xfrm>
            <a:off x="7228114" y="292100"/>
            <a:ext cx="4659086" cy="5976938"/>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0763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472906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ice 2">
    <p:spTree>
      <p:nvGrpSpPr>
        <p:cNvPr id="1" name=""/>
        <p:cNvGrpSpPr/>
        <p:nvPr/>
      </p:nvGrpSpPr>
      <p:grpSpPr>
        <a:xfrm>
          <a:off x="0" y="0"/>
          <a:ext cx="0" cy="0"/>
          <a:chOff x="0" y="0"/>
          <a:chExt cx="0" cy="0"/>
        </a:xfrm>
      </p:grpSpPr>
      <p:pic>
        <p:nvPicPr>
          <p:cNvPr id="3" name="Picture 2" descr="A close-up of a spiral&#10;&#10;Description automatically generated">
            <a:extLst>
              <a:ext uri="{FF2B5EF4-FFF2-40B4-BE49-F238E27FC236}">
                <a16:creationId xmlns:a16="http://schemas.microsoft.com/office/drawing/2014/main" id="{3117FEF8-62E3-EC02-1329-2468770772B6}"/>
              </a:ext>
            </a:extLst>
          </p:cNvPr>
          <p:cNvPicPr>
            <a:picLocks noChangeAspect="1"/>
          </p:cNvPicPr>
          <p:nvPr userDrawn="1"/>
        </p:nvPicPr>
        <p:blipFill rotWithShape="1">
          <a:blip r:embed="rId2"/>
          <a:srcRect t="41076" r="41052" b="23"/>
          <a:stretch/>
        </p:blipFill>
        <p:spPr>
          <a:xfrm>
            <a:off x="0" y="1"/>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49244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996697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 Floating Square Photo Graphic">
    <p:spTree>
      <p:nvGrpSpPr>
        <p:cNvPr id="1" name=""/>
        <p:cNvGrpSpPr/>
        <p:nvPr/>
      </p:nvGrpSpPr>
      <p:grpSpPr>
        <a:xfrm>
          <a:off x="0" y="0"/>
          <a:ext cx="0" cy="0"/>
          <a:chOff x="0" y="0"/>
          <a:chExt cx="0" cy="0"/>
        </a:xfrm>
      </p:grpSpPr>
      <p:pic>
        <p:nvPicPr>
          <p:cNvPr id="19" name="Picture 18" descr="A close up of a colorful paper&#10;&#10;Description automatically generated">
            <a:extLst>
              <a:ext uri="{FF2B5EF4-FFF2-40B4-BE49-F238E27FC236}">
                <a16:creationId xmlns:a16="http://schemas.microsoft.com/office/drawing/2014/main" id="{D5587F9B-0EDF-E50B-C4BC-0186F9430719}"/>
              </a:ext>
            </a:extLst>
          </p:cNvPr>
          <p:cNvPicPr>
            <a:picLocks noChangeAspect="1"/>
          </p:cNvPicPr>
          <p:nvPr userDrawn="1"/>
        </p:nvPicPr>
        <p:blipFill rotWithShape="1">
          <a:blip r:embed="rId2"/>
          <a:srcRect l="40409" t="26788" r="18433"/>
          <a:stretch/>
        </p:blipFill>
        <p:spPr>
          <a:xfrm>
            <a:off x="6544300" y="585788"/>
            <a:ext cx="5076199" cy="5079046"/>
          </a:xfrm>
          <a:prstGeom prst="rect">
            <a:avLst/>
          </a:prstGeom>
        </p:spPr>
      </p:pic>
      <p:sp>
        <p:nvSpPr>
          <p:cNvPr id="13" name="Square">
            <a:extLst>
              <a:ext uri="{FF2B5EF4-FFF2-40B4-BE49-F238E27FC236}">
                <a16:creationId xmlns:a16="http://schemas.microsoft.com/office/drawing/2014/main" id="{CD4E65D4-0149-05A6-AC78-ED3627A5975E}"/>
              </a:ext>
            </a:extLst>
          </p:cNvPr>
          <p:cNvSpPr/>
          <p:nvPr userDrawn="1"/>
        </p:nvSpPr>
        <p:spPr>
          <a:xfrm>
            <a:off x="5940097" y="1148397"/>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749800"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44300" y="1752600"/>
            <a:ext cx="3912234" cy="3912234"/>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13323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 Floating Square Photo Graphic 2">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01305EF0-EAC4-FB22-9A8C-E2B9DEA52D00}"/>
              </a:ext>
            </a:extLst>
          </p:cNvPr>
          <p:cNvSpPr/>
          <p:nvPr userDrawn="1"/>
        </p:nvSpPr>
        <p:spPr>
          <a:xfrm>
            <a:off x="5919788" y="-16074"/>
            <a:ext cx="6278745" cy="6890148"/>
          </a:xfrm>
          <a:prstGeom prst="rect">
            <a:avLst/>
          </a:prstGeom>
          <a:solidFill>
            <a:srgbClr val="325A61"/>
          </a:solidFill>
          <a:ln w="12700">
            <a:miter lim="400000"/>
          </a:ln>
        </p:spPr>
        <p:txBody>
          <a:bodyPr lIns="146304" tIns="146304" rIns="146304" bIns="146304"/>
          <a:lstStyle/>
          <a:p>
            <a:endParaRPr/>
          </a:p>
        </p:txBody>
      </p:sp>
      <p:pic>
        <p:nvPicPr>
          <p:cNvPr id="13" name="Picture 12" descr="A close-up of a spiral&#10;&#10;Description automatically generated">
            <a:extLst>
              <a:ext uri="{FF2B5EF4-FFF2-40B4-BE49-F238E27FC236}">
                <a16:creationId xmlns:a16="http://schemas.microsoft.com/office/drawing/2014/main" id="{27B37B92-2B88-B680-79AF-C8FBEB372FF1}"/>
              </a:ext>
            </a:extLst>
          </p:cNvPr>
          <p:cNvPicPr>
            <a:picLocks noChangeAspect="1"/>
          </p:cNvPicPr>
          <p:nvPr userDrawn="1"/>
        </p:nvPicPr>
        <p:blipFill rotWithShape="1">
          <a:blip r:embed="rId2"/>
          <a:srcRect l="5768" r="52101" b="24863"/>
          <a:stretch/>
        </p:blipFill>
        <p:spPr>
          <a:xfrm>
            <a:off x="5919787" y="1"/>
            <a:ext cx="5683949" cy="5706352"/>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3068637"/>
            <a:ext cx="3200400" cy="3200400"/>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35866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 Square Photo Graphic">
    <p:spTree>
      <p:nvGrpSpPr>
        <p:cNvPr id="1" name=""/>
        <p:cNvGrpSpPr/>
        <p:nvPr/>
      </p:nvGrpSpPr>
      <p:grpSpPr>
        <a:xfrm>
          <a:off x="0" y="0"/>
          <a:ext cx="0" cy="0"/>
          <a:chOff x="0" y="0"/>
          <a:chExt cx="0" cy="0"/>
        </a:xfrm>
      </p:grpSpPr>
      <p:pic>
        <p:nvPicPr>
          <p:cNvPr id="12" name="Picture 11" descr="A close up of a colorful paper&#10;&#10;Description automatically generated">
            <a:extLst>
              <a:ext uri="{FF2B5EF4-FFF2-40B4-BE49-F238E27FC236}">
                <a16:creationId xmlns:a16="http://schemas.microsoft.com/office/drawing/2014/main" id="{13F3D321-35EF-3FCA-D704-3DF8CCB7FA2C}"/>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68435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BCDB82-BFCF-B3BE-77AC-85E6B44506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F7A243-101C-3F1B-602B-C250E18297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83CA8D-65B5-2EC0-864E-89A854B4D509}"/>
              </a:ext>
            </a:extLst>
          </p:cNvPr>
          <p:cNvSpPr>
            <a:spLocks noGrp="1"/>
          </p:cNvSpPr>
          <p:nvPr>
            <p:ph type="dt" sz="half" idx="10"/>
          </p:nvPr>
        </p:nvSpPr>
        <p:spPr/>
        <p:txBody>
          <a:bodyPr/>
          <a:lstStyle/>
          <a:p>
            <a:fld id="{CF54589B-69CC-47B9-988B-791B182FF83B}" type="datetimeFigureOut">
              <a:rPr lang="en-US" smtClean="0"/>
              <a:t>4/17/2025</a:t>
            </a:fld>
            <a:endParaRPr lang="en-US"/>
          </a:p>
        </p:txBody>
      </p:sp>
      <p:sp>
        <p:nvSpPr>
          <p:cNvPr id="5" name="Footer Placeholder 4">
            <a:extLst>
              <a:ext uri="{FF2B5EF4-FFF2-40B4-BE49-F238E27FC236}">
                <a16:creationId xmlns:a16="http://schemas.microsoft.com/office/drawing/2014/main" id="{A43624F9-7114-5FA7-3A48-6DA3CDFC83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EC5D3-B96B-AF14-A521-793109C04D5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56243044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 Square Photo Graphic 2">
    <p:spTree>
      <p:nvGrpSpPr>
        <p:cNvPr id="1" name=""/>
        <p:cNvGrpSpPr/>
        <p:nvPr/>
      </p:nvGrpSpPr>
      <p:grpSpPr>
        <a:xfrm>
          <a:off x="0" y="0"/>
          <a:ext cx="0" cy="0"/>
          <a:chOff x="0" y="0"/>
          <a:chExt cx="0" cy="0"/>
        </a:xfrm>
      </p:grpSpPr>
      <p:pic>
        <p:nvPicPr>
          <p:cNvPr id="11" name="Picture 10" descr="A close-up of a spiral&#10;&#10;Description automatically generated">
            <a:extLst>
              <a:ext uri="{FF2B5EF4-FFF2-40B4-BE49-F238E27FC236}">
                <a16:creationId xmlns:a16="http://schemas.microsoft.com/office/drawing/2014/main" id="{5B1B145A-44EF-E1DF-CB05-2BA9B2DB9F34}"/>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6113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 Square Photo Graphic 3">
    <p:spTree>
      <p:nvGrpSpPr>
        <p:cNvPr id="1" name=""/>
        <p:cNvGrpSpPr/>
        <p:nvPr/>
      </p:nvGrpSpPr>
      <p:grpSpPr>
        <a:xfrm>
          <a:off x="0" y="0"/>
          <a:ext cx="0" cy="0"/>
          <a:chOff x="0" y="0"/>
          <a:chExt cx="0" cy="0"/>
        </a:xfrm>
      </p:grpSpPr>
      <p:pic>
        <p:nvPicPr>
          <p:cNvPr id="12" name="Picture 11" descr="A close up of a balloon&#10;&#10;Description automatically generated">
            <a:extLst>
              <a:ext uri="{FF2B5EF4-FFF2-40B4-BE49-F238E27FC236}">
                <a16:creationId xmlns:a16="http://schemas.microsoft.com/office/drawing/2014/main" id="{9279B191-B390-A33E-43AA-4CC5DCB1EBD2}"/>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65070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39373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1952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9920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solidFill>
            <a:schemeClr val="tx1"/>
          </a:soli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609977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solidFill>
            <a:schemeClr val="tx1"/>
          </a:soli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66440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33554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04510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71420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9C71-E582-F76D-ECD2-3D46309DE4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95C0C4-FD49-0BCC-A47F-C4EE2D60B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462EEC-AFFE-26C4-0890-15D5D048EE92}"/>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5" name="Footer Placeholder 4">
            <a:extLst>
              <a:ext uri="{FF2B5EF4-FFF2-40B4-BE49-F238E27FC236}">
                <a16:creationId xmlns:a16="http://schemas.microsoft.com/office/drawing/2014/main" id="{4E714FD0-2B02-DC9A-033A-0D29C0BC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493E7D-5976-7D79-66E4-B2052156F35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89518382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24478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49810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88621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solidFill>
            <a:schemeClr val="tx1"/>
          </a:solidFill>
        </p:spPr>
        <p:txBody>
          <a:bodyPr lIns="0" tIns="0" rIns="0" bIns="73152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02146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08418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22053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1983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10323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06430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86252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2CD6-3F56-40CB-FC61-41C74B3049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C20A-4884-9C04-177D-2985D11369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07B1F-96AA-6B08-E19F-1EBE65DDA54B}"/>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5" name="Footer Placeholder 4">
            <a:extLst>
              <a:ext uri="{FF2B5EF4-FFF2-40B4-BE49-F238E27FC236}">
                <a16:creationId xmlns:a16="http://schemas.microsoft.com/office/drawing/2014/main" id="{1355527C-8C41-729D-B88E-54B2EB021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AAA27-EB3F-3B72-305C-F782B490D31F}"/>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9271937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017320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361185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769972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681547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127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8" name="Picture 7" descr="A close up of a colorful paper&#10;&#10;Description automatically generated">
            <a:extLst>
              <a:ext uri="{FF2B5EF4-FFF2-40B4-BE49-F238E27FC236}">
                <a16:creationId xmlns:a16="http://schemas.microsoft.com/office/drawing/2014/main" id="{687381A5-607B-B014-F398-77FE54061B6E}"/>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776415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3">
    <p:bg>
      <p:bgPr>
        <a:solidFill>
          <a:schemeClr val="bg1"/>
        </a:solidFill>
        <a:effectLst/>
      </p:bgPr>
    </p:bg>
    <p:spTree>
      <p:nvGrpSpPr>
        <p:cNvPr id="1" name=""/>
        <p:cNvGrpSpPr/>
        <p:nvPr/>
      </p:nvGrpSpPr>
      <p:grpSpPr>
        <a:xfrm>
          <a:off x="0" y="0"/>
          <a:ext cx="0" cy="0"/>
          <a:chOff x="0" y="0"/>
          <a:chExt cx="0" cy="0"/>
        </a:xfrm>
      </p:grpSpPr>
      <p:pic>
        <p:nvPicPr>
          <p:cNvPr id="8" name="Picture 7" descr="A close-up of a spiral&#10;&#10;Description automatically generated">
            <a:extLst>
              <a:ext uri="{FF2B5EF4-FFF2-40B4-BE49-F238E27FC236}">
                <a16:creationId xmlns:a16="http://schemas.microsoft.com/office/drawing/2014/main" id="{F5C3DD92-2C82-EC44-A9FF-8F934C9194A8}"/>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38633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chemeClr val="bg1"/>
        </a:solidFill>
        <a:effectLst/>
      </p:bgPr>
    </p:bg>
    <p:spTree>
      <p:nvGrpSpPr>
        <p:cNvPr id="1" name=""/>
        <p:cNvGrpSpPr/>
        <p:nvPr/>
      </p:nvGrpSpPr>
      <p:grpSpPr>
        <a:xfrm>
          <a:off x="0" y="0"/>
          <a:ext cx="0" cy="0"/>
          <a:chOff x="0" y="0"/>
          <a:chExt cx="0" cy="0"/>
        </a:xfrm>
      </p:grpSpPr>
      <p:pic>
        <p:nvPicPr>
          <p:cNvPr id="8" name="Picture 7" descr="A close up of a balloon&#10;&#10;Description automatically generated">
            <a:extLst>
              <a:ext uri="{FF2B5EF4-FFF2-40B4-BE49-F238E27FC236}">
                <a16:creationId xmlns:a16="http://schemas.microsoft.com/office/drawing/2014/main" id="{44D59BE4-AB34-CBD0-220A-B676073470BC}"/>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3391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7279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 up of a colorful paper&#10;&#10;Description automatically generated">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3295889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87B64-7517-D0FA-3C54-179E8FC9B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D3DF89-2042-A561-30E1-FF7FD733F3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3F1E06-E085-9562-2D87-1DF90834CC7A}"/>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5" name="Footer Placeholder 4">
            <a:extLst>
              <a:ext uri="{FF2B5EF4-FFF2-40B4-BE49-F238E27FC236}">
                <a16:creationId xmlns:a16="http://schemas.microsoft.com/office/drawing/2014/main" id="{1ECA3DCC-7740-459D-4B09-DEB30D8CB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0D76E-9B1C-27B7-C698-9FEF9BDD66C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7141252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up of a spiral&#10;&#10;Description automatically generated">
            <a:extLst>
              <a:ext uri="{FF2B5EF4-FFF2-40B4-BE49-F238E27FC236}">
                <a16:creationId xmlns:a16="http://schemas.microsoft.com/office/drawing/2014/main" id="{E55942A3-1191-828A-7445-B577CE3F52E1}"/>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Tree>
    <p:extLst>
      <p:ext uri="{BB962C8B-B14F-4D97-AF65-F5344CB8AC3E}">
        <p14:creationId xmlns:p14="http://schemas.microsoft.com/office/powerpoint/2010/main" val="1944943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pic>
        <p:nvPicPr>
          <p:cNvPr id="7" name="Picture 6" descr="A close up of a balloon&#10;&#10;Description automatically generated">
            <a:extLst>
              <a:ext uri="{FF2B5EF4-FFF2-40B4-BE49-F238E27FC236}">
                <a16:creationId xmlns:a16="http://schemas.microsoft.com/office/drawing/2014/main" id="{48D4A50E-8413-D890-671C-B4A6F35C8178}"/>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61165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10" name="Picture 9" descr="A close up of a glass&#10;&#10;Description automatically generated">
            <a:extLst>
              <a:ext uri="{FF2B5EF4-FFF2-40B4-BE49-F238E27FC236}">
                <a16:creationId xmlns:a16="http://schemas.microsoft.com/office/drawing/2014/main" id="{FAC15132-739D-95CD-FEE9-F0C7A478EEE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568" y="0"/>
            <a:ext cx="12180864" cy="6846401"/>
          </a:xfrm>
          <a:prstGeom prst="rect">
            <a:avLst/>
          </a:prstGeom>
        </p:spPr>
      </p:pic>
    </p:spTree>
    <p:extLst>
      <p:ext uri="{BB962C8B-B14F-4D97-AF65-F5344CB8AC3E}">
        <p14:creationId xmlns:p14="http://schemas.microsoft.com/office/powerpoint/2010/main" val="4278847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891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2187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28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667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37F3A8B6-B05A-B07A-CABF-0269F1025029}"/>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28" r="-5236" b="-10428"/>
            </a:stretch>
          </a:blipFill>
          <a:ln w="12700">
            <a:miter lim="400000"/>
          </a:ln>
        </p:spPr>
        <p:txBody>
          <a:bodyPr lIns="146304" tIns="146304" rIns="146304" bIns="146304"/>
          <a:lstStyle/>
          <a:p>
            <a:pPr>
              <a:defRPr>
                <a:solidFill>
                  <a:srgbClr val="FFFFFF"/>
                </a:solidFill>
              </a:defRPr>
            </a:pPr>
            <a:endParaRPr/>
          </a:p>
        </p:txBody>
      </p:sp>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625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4B3C68CB-E8AC-6234-9427-2A6673D179E3}"/>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89" r="-5236" b="-10489"/>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48484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01CB1A7-0196-21A7-109B-54CA161EB6A7}"/>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78" t="-10369" r="-5280" b="-10367"/>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54526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B541-9003-2275-74CA-BF042E87B1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40414F-B11E-B25F-5D8A-C72CE4FF4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D2CB11-5CF3-49A5-73BE-F7FCD81ACE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E39F87-346D-C8D5-1057-BC51670DA702}"/>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6" name="Footer Placeholder 5">
            <a:extLst>
              <a:ext uri="{FF2B5EF4-FFF2-40B4-BE49-F238E27FC236}">
                <a16:creationId xmlns:a16="http://schemas.microsoft.com/office/drawing/2014/main" id="{8D8A452C-9BB7-43D2-C644-214FA7B6C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CB5CA-1BDB-6E90-9483-54B1C8E049C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3123694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7E7BF5F9-B624-30C1-5E2D-86E1159F887B}"/>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4" r="-12766" b="-22264"/>
            </a:stretch>
          </a:blipFill>
          <a:ln w="12700">
            <a:miter lim="400000"/>
          </a:ln>
        </p:spPr>
        <p:txBody>
          <a:bodyPr lIns="146304" tIns="146304" rIns="146304" bIns="146304"/>
          <a:lstStyle/>
          <a:p>
            <a:pPr lvl="0"/>
            <a:endParaRPr>
              <a:solidFill>
                <a:srgbClr val="FFFFFF"/>
              </a:solidFill>
            </a:endParaRPr>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58601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39D28D6-D56F-E6D2-BC50-420DBCB4905A}"/>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2" r="-12701" b="-22338"/>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588511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85BCF97B-C514-32AB-3E25-432060F90681}"/>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76" t="-22193" r="-12876" b="-22193"/>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666690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6A32330E-3D85-1BFF-842E-A87E2D3F3BC9}"/>
              </a:ext>
              <a:ext uri="{C183D7F6-B498-43B3-948B-1728B52AA6E4}">
                <adec:decorative xmlns:adec="http://schemas.microsoft.com/office/drawing/2017/decorative" val="1"/>
              </a:ext>
            </a:extLst>
          </p:cNvPr>
          <p:cNvSpPr/>
          <p:nvPr userDrawn="1"/>
        </p:nvSpPr>
        <p:spPr>
          <a:xfrm>
            <a:off x="-12700" y="0"/>
            <a:ext cx="5029200" cy="6867724"/>
          </a:xfrm>
          <a:prstGeom prst="rect">
            <a:avLst/>
          </a:prstGeom>
          <a:solidFill>
            <a:srgbClr val="E1D3C7"/>
          </a:solidFill>
          <a:ln w="12700">
            <a:miter lim="400000"/>
          </a:ln>
        </p:spPr>
        <p:txBody>
          <a:bodyPr lIns="146304" tIns="146304" rIns="146304" bIns="146304"/>
          <a:lstStyle/>
          <a:p>
            <a:pPr marR="0" lvl="0" indent="0" defTabSz="914366" fontAlgn="auto" hangingPunct="0">
              <a:lnSpc>
                <a:spcPct val="100000"/>
              </a:lnSpc>
              <a:spcBef>
                <a:spcPts val="0"/>
              </a:spcBef>
              <a:spcAft>
                <a:spcPts val="0"/>
              </a:spcAft>
              <a:buClrTx/>
              <a:buSzTx/>
              <a:buFontTx/>
              <a:buNone/>
              <a:tabLst/>
            </a:pPr>
            <a:endParaRPr kumimoji="0" sz="1700" b="0" i="0" u="none" strike="noStrike" cap="none" spc="0" normalizeH="0" baseline="0">
              <a:ln>
                <a:noFill/>
              </a:ln>
              <a:solidFill>
                <a:srgbClr val="000000"/>
              </a:solidFill>
              <a:effectLst/>
              <a:uFillTx/>
              <a:sym typeface="Segoe UI"/>
            </a:endParaRPr>
          </a:p>
        </p:txBody>
      </p:sp>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661943" y="3121223"/>
            <a:ext cx="5958557" cy="307777"/>
          </a:xfrm>
        </p:spPr>
        <p:txBody>
          <a:bodyPr/>
          <a:lstStyle>
            <a:lvl1pPr>
              <a:defRPr sz="2000">
                <a:latin typeface="+mn-lt"/>
              </a:defRPr>
            </a:lvl1pPr>
          </a:lstStyle>
          <a:p>
            <a:r>
              <a:rPr lang="en-US"/>
              <a:t>Click to edit quote style</a:t>
            </a:r>
          </a:p>
        </p:txBody>
      </p:sp>
      <p:sp>
        <p:nvSpPr>
          <p:cNvPr id="10" name="Text Placeholder 5">
            <a:extLst>
              <a:ext uri="{FF2B5EF4-FFF2-40B4-BE49-F238E27FC236}">
                <a16:creationId xmlns:a16="http://schemas.microsoft.com/office/drawing/2014/main" id="{9E6A7863-B7CC-B4F0-9AA8-18694E1E1B0E}"/>
              </a:ext>
            </a:extLst>
          </p:cNvPr>
          <p:cNvSpPr>
            <a:spLocks noGrp="1"/>
          </p:cNvSpPr>
          <p:nvPr>
            <p:ph type="body" sz="quarter" idx="12" hasCustomPrompt="1"/>
          </p:nvPr>
        </p:nvSpPr>
        <p:spPr>
          <a:xfrm>
            <a:off x="5662614" y="2324775"/>
            <a:ext cx="564016" cy="578416"/>
          </a:xfrm>
        </p:spPr>
        <p:txBody>
          <a:bodyPr>
            <a:noAutofit/>
          </a:bodyPr>
          <a:lstStyle>
            <a:lvl1pPr marL="0" indent="0">
              <a:buNone/>
              <a:defRPr sz="8000">
                <a:latin typeface="+mj-lt"/>
              </a:defRPr>
            </a:lvl1pPr>
          </a:lstStyle>
          <a:p>
            <a:pPr lvl="0"/>
            <a:r>
              <a:rPr lang="en-US"/>
              <a:t>“</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662613" y="3647032"/>
            <a:ext cx="5957887" cy="246221"/>
          </a:xfrm>
        </p:spPr>
        <p:txBody>
          <a:bodyPr/>
          <a:lstStyle>
            <a:lvl1pPr marL="0" indent="0" algn="r">
              <a:buNone/>
              <a:defRPr sz="1600"/>
            </a:lvl1pPr>
          </a:lstStyle>
          <a:p>
            <a:pPr lvl="0"/>
            <a:r>
              <a:rPr lang="en-US"/>
              <a:t>Quote author, Title, Organization</a:t>
            </a:r>
          </a:p>
        </p:txBody>
      </p:sp>
      <p:sp>
        <p:nvSpPr>
          <p:cNvPr id="16" name="Picture Placeholder 15" descr="This photo is a 'placeholder' only. Drag or drop your photo here, or click and tap the center to insert a photo.">
            <a:extLst>
              <a:ext uri="{FF2B5EF4-FFF2-40B4-BE49-F238E27FC236}">
                <a16:creationId xmlns:a16="http://schemas.microsoft.com/office/drawing/2014/main" id="{31264862-2FE4-290E-0B40-0D54CC25E531}"/>
              </a:ext>
            </a:extLst>
          </p:cNvPr>
          <p:cNvSpPr>
            <a:spLocks noGrp="1"/>
          </p:cNvSpPr>
          <p:nvPr>
            <p:ph type="pic" sz="quarter" idx="11" hasCustomPrompt="1"/>
          </p:nvPr>
        </p:nvSpPr>
        <p:spPr>
          <a:xfrm>
            <a:off x="571500" y="1371600"/>
            <a:ext cx="4445000" cy="5486400"/>
          </a:xfrm>
          <a:custGeom>
            <a:avLst/>
            <a:gdLst>
              <a:gd name="connsiteX0" fmla="*/ 3530600 w 4445000"/>
              <a:gd name="connsiteY0" fmla="*/ 0 h 5486400"/>
              <a:gd name="connsiteX1" fmla="*/ 4445000 w 4445000"/>
              <a:gd name="connsiteY1" fmla="*/ 0 h 5486400"/>
              <a:gd name="connsiteX2" fmla="*/ 4445000 w 4445000"/>
              <a:gd name="connsiteY2" fmla="*/ 5486400 h 5486400"/>
              <a:gd name="connsiteX3" fmla="*/ 0 w 4445000"/>
              <a:gd name="connsiteY3" fmla="*/ 5486400 h 5486400"/>
              <a:gd name="connsiteX4" fmla="*/ 0 w 4445000"/>
              <a:gd name="connsiteY4" fmla="*/ 1042988 h 5486400"/>
              <a:gd name="connsiteX5" fmla="*/ 3530600 w 4445000"/>
              <a:gd name="connsiteY5" fmla="*/ 1042988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000" h="5486400">
                <a:moveTo>
                  <a:pt x="3530600" y="0"/>
                </a:moveTo>
                <a:lnTo>
                  <a:pt x="4445000" y="0"/>
                </a:lnTo>
                <a:lnTo>
                  <a:pt x="4445000" y="5486400"/>
                </a:lnTo>
                <a:lnTo>
                  <a:pt x="0" y="5486400"/>
                </a:lnTo>
                <a:lnTo>
                  <a:pt x="0" y="1042988"/>
                </a:lnTo>
                <a:lnTo>
                  <a:pt x="3530600" y="1042988"/>
                </a:lnTo>
                <a:close/>
              </a:path>
            </a:pathLst>
          </a:custGeom>
          <a:solidFill>
            <a:schemeClr val="tx1"/>
          </a:solidFill>
        </p:spPr>
        <p:txBody>
          <a:bodyPr vert="horz" wrap="square" lIns="0" tIns="1828800" rIns="0" bIns="0" rtlCol="0" anchor="t" anchorCtr="0">
            <a:noAutofit/>
          </a:bodyPr>
          <a:lstStyle>
            <a:lvl1pPr marL="0" indent="0" algn="ctr">
              <a:buNone/>
              <a:defRPr lang="en-US"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15" name="Title 4">
            <a:extLst>
              <a:ext uri="{FF2B5EF4-FFF2-40B4-BE49-F238E27FC236}">
                <a16:creationId xmlns:a16="http://schemas.microsoft.com/office/drawing/2014/main" id="{6CBB78EA-B6AB-046F-E459-66F99F6F9E14}"/>
              </a:ext>
              <a:ext uri="{C183D7F6-B498-43B3-948B-1728B52AA6E4}">
                <adec:decorative xmlns:adec="http://schemas.microsoft.com/office/drawing/2017/decorative" val="1"/>
              </a:ext>
            </a:extLst>
          </p:cNvPr>
          <p:cNvSpPr txBox="1"/>
          <p:nvPr userDrawn="1"/>
        </p:nvSpPr>
        <p:spPr>
          <a:xfrm>
            <a:off x="-12700" y="585788"/>
            <a:ext cx="4114800" cy="1828800"/>
          </a:xfrm>
          <a:prstGeom prst="rect">
            <a:avLst/>
          </a:prstGeom>
          <a:solidFill>
            <a:srgbClr val="FFFFFF"/>
          </a:solidFill>
          <a:ln w="12700">
            <a:miter lim="400000"/>
          </a:ln>
        </p:spPr>
        <p:txBody>
          <a:bodyPr lIns="0" tIns="0" rIns="0" bIns="0" anchor="ctr"/>
          <a:lstStyle/>
          <a:p>
            <a:pPr indent="139700" defTabSz="932741">
              <a:lnSpc>
                <a:spcPts val="6400"/>
              </a:lnSpc>
              <a:defRPr sz="5600" spc="-350">
                <a:solidFill>
                  <a:srgbClr val="FFFFFF"/>
                </a:solidFill>
                <a:latin typeface="Segoe UI Semilight"/>
                <a:ea typeface="Segoe UI Semilight"/>
                <a:cs typeface="Segoe UI Semilight"/>
                <a:sym typeface="Segoe UI Semilight"/>
              </a:defRPr>
            </a:pPr>
            <a:endParaRPr/>
          </a:p>
        </p:txBody>
      </p:sp>
    </p:spTree>
    <p:extLst>
      <p:ext uri="{BB962C8B-B14F-4D97-AF65-F5344CB8AC3E}">
        <p14:creationId xmlns:p14="http://schemas.microsoft.com/office/powerpoint/2010/main" val="34008517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528">
          <p15:clr>
            <a:srgbClr val="FBAE40"/>
          </p15:clr>
        </p15:guide>
        <p15:guide id="3" pos="316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6473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6836097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lnSpc>
                <a:spcPct val="90000"/>
              </a:lnSpc>
              <a:defRPr sz="4000">
                <a:solidFill>
                  <a:schemeClr val="tx1"/>
                </a:solidFill>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34024106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36421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pic>
        <p:nvPicPr>
          <p:cNvPr id="2" name="Picture 1" descr="A map of the world&#10;&#10;Description automatically generated with low confidence">
            <a:extLst>
              <a:ext uri="{FF2B5EF4-FFF2-40B4-BE49-F238E27FC236}">
                <a16:creationId xmlns:a16="http://schemas.microsoft.com/office/drawing/2014/main" id="{60F2FE49-7DA9-30BA-2393-B5BF38886C3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2350" y="0"/>
            <a:ext cx="6089650" cy="6858000"/>
          </a:xfrm>
          <a:prstGeom prst="rect">
            <a:avLst/>
          </a:prstGeom>
        </p:spPr>
      </p:pic>
      <p:sp>
        <p:nvSpPr>
          <p:cNvPr id="3" name="Title 1">
            <a:extLst>
              <a:ext uri="{FF2B5EF4-FFF2-40B4-BE49-F238E27FC236}">
                <a16:creationId xmlns:a16="http://schemas.microsoft.com/office/drawing/2014/main" id="{7BBD93CE-BCB0-C525-9E34-A2C4AF3E7E2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4" name="Text Placeholder 4">
            <a:extLst>
              <a:ext uri="{FF2B5EF4-FFF2-40B4-BE49-F238E27FC236}">
                <a16:creationId xmlns:a16="http://schemas.microsoft.com/office/drawing/2014/main" id="{6D0D2550-0701-56A1-F6DE-AF054221F1A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8926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grpSp>
        <p:nvGrpSpPr>
          <p:cNvPr id="2" name="Group 1">
            <a:extLst>
              <a:ext uri="{FF2B5EF4-FFF2-40B4-BE49-F238E27FC236}">
                <a16:creationId xmlns:a16="http://schemas.microsoft.com/office/drawing/2014/main" id="{3324D6BA-D1AC-068F-B017-5768FE74A6ED}"/>
              </a:ext>
            </a:extLst>
          </p:cNvPr>
          <p:cNvGrpSpPr/>
          <p:nvPr userDrawn="1"/>
        </p:nvGrpSpPr>
        <p:grpSpPr>
          <a:xfrm>
            <a:off x="6096000" y="-1"/>
            <a:ext cx="6096001" cy="6858001"/>
            <a:chOff x="6096000" y="-1"/>
            <a:chExt cx="6096001" cy="6858001"/>
          </a:xfrm>
        </p:grpSpPr>
        <p:pic>
          <p:nvPicPr>
            <p:cNvPr id="3" name="Picture 2" descr="A picture containing black, silhouette, shadow&#10;&#10;Description automatically generated">
              <a:extLst>
                <a:ext uri="{FF2B5EF4-FFF2-40B4-BE49-F238E27FC236}">
                  <a16:creationId xmlns:a16="http://schemas.microsoft.com/office/drawing/2014/main" id="{5BA48CA6-898F-06D9-23B3-B775CDE27075}"/>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1250"/>
            <a:stretch/>
          </p:blipFill>
          <p:spPr>
            <a:xfrm>
              <a:off x="6118861" y="0"/>
              <a:ext cx="6073140" cy="6858000"/>
            </a:xfrm>
            <a:prstGeom prst="rect">
              <a:avLst/>
            </a:prstGeom>
          </p:spPr>
        </p:pic>
        <p:pic>
          <p:nvPicPr>
            <p:cNvPr id="4" name="Picture 3" descr="A map of different colored squares&#10;&#10;Description automatically generated with low confidence">
              <a:extLst>
                <a:ext uri="{FF2B5EF4-FFF2-40B4-BE49-F238E27FC236}">
                  <a16:creationId xmlns:a16="http://schemas.microsoft.com/office/drawing/2014/main" id="{57946CF2-6D58-0D44-086F-0D99D6FE2DFC}"/>
                </a:ext>
              </a:extLst>
            </p:cNvPr>
            <p:cNvPicPr>
              <a:picLocks noChangeAspect="1"/>
            </p:cNvPicPr>
            <p:nvPr/>
          </p:nvPicPr>
          <p:blipFill rotWithShape="1">
            <a:blip r:embed="rId6">
              <a:extLst>
                <a:ext uri="{28A0092B-C50C-407E-A947-70E740481C1C}">
                  <a14:useLocalDpi xmlns:a14="http://schemas.microsoft.com/office/drawing/2010/main" val="0"/>
                </a:ext>
              </a:extLst>
            </a:blip>
            <a:srcRect t="6626" r="3777" b="7825"/>
            <a:stretch/>
          </p:blipFill>
          <p:spPr>
            <a:xfrm>
              <a:off x="6096000" y="-1"/>
              <a:ext cx="6096000" cy="6858001"/>
            </a:xfrm>
            <a:prstGeom prst="rect">
              <a:avLst/>
            </a:prstGeom>
          </p:spPr>
        </p:pic>
      </p:grpSp>
      <p:sp>
        <p:nvSpPr>
          <p:cNvPr id="6" name="Title 1">
            <a:extLst>
              <a:ext uri="{FF2B5EF4-FFF2-40B4-BE49-F238E27FC236}">
                <a16:creationId xmlns:a16="http://schemas.microsoft.com/office/drawing/2014/main" id="{D1098B39-1147-A9AA-7F6D-42F1F17B4C10}"/>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C9F2F2F1-B347-5B96-0B9E-1CC54B02581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079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BF07-05EF-CD60-73E3-85A3759292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288FE-335F-F96B-BA30-A7711DC92D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0E8459-2C8D-931F-DE4E-7EB04DA27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3D4DB4-2916-0AAC-2432-CF94C66FF3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8AB0BD-B4AA-CFCE-E2C2-38BC56439D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225403-FE00-DD51-8788-9F6B8EA53B48}"/>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8" name="Footer Placeholder 7">
            <a:extLst>
              <a:ext uri="{FF2B5EF4-FFF2-40B4-BE49-F238E27FC236}">
                <a16:creationId xmlns:a16="http://schemas.microsoft.com/office/drawing/2014/main" id="{2263A9E2-53FF-2795-8277-B304F66BA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D3D94-4988-8834-B26C-70ECC9A28B5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0525745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 Screen Mosaic">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332A4-1DB0-042A-CFA1-F75EAF823A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A picture containing art, child art, pattern&#10;&#10;Description automatically generated">
            <a:extLst>
              <a:ext uri="{FF2B5EF4-FFF2-40B4-BE49-F238E27FC236}">
                <a16:creationId xmlns:a16="http://schemas.microsoft.com/office/drawing/2014/main" id="{EBC38F0F-CF78-7941-E7DC-12A6BFD040E7}"/>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8283" r="10674" b="3290"/>
          <a:stretch/>
        </p:blipFill>
        <p:spPr>
          <a:xfrm>
            <a:off x="4465675" y="1"/>
            <a:ext cx="7726325" cy="6857999"/>
          </a:xfrm>
          <a:prstGeom prst="rect">
            <a:avLst/>
          </a:prstGeom>
        </p:spPr>
      </p:pic>
      <p:sp>
        <p:nvSpPr>
          <p:cNvPr id="4" name="Title 1">
            <a:extLst>
              <a:ext uri="{FF2B5EF4-FFF2-40B4-BE49-F238E27FC236}">
                <a16:creationId xmlns:a16="http://schemas.microsoft.com/office/drawing/2014/main" id="{1E1B1FAB-0533-547E-5BA7-059BF4D8775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F8E5962C-A4A9-8A90-51E6-3994340FB340}"/>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694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Large Text Quote - Mosaic Map">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2821" t="18154" b="177"/>
          <a:stretch/>
        </p:blipFill>
        <p:spPr>
          <a:xfrm>
            <a:off x="0" y="0"/>
            <a:ext cx="4718181" cy="4992624"/>
          </a:xfrm>
          <a:prstGeom prst="rect">
            <a:avLst/>
          </a:prstGeom>
        </p:spPr>
      </p:pic>
      <p:pic>
        <p:nvPicPr>
          <p:cNvPr id="3" name="Picture 2" descr="A map of the world&#10;&#10;Description automatically generated with low confidence">
            <a:extLst>
              <a:ext uri="{FF2B5EF4-FFF2-40B4-BE49-F238E27FC236}">
                <a16:creationId xmlns:a16="http://schemas.microsoft.com/office/drawing/2014/main" id="{3234B9EE-445C-0034-D070-3D6A3CF5D26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08" r="2960" b="7258"/>
          <a:stretch/>
        </p:blipFill>
        <p:spPr>
          <a:xfrm>
            <a:off x="6145456" y="1"/>
            <a:ext cx="6046544" cy="6858000"/>
          </a:xfrm>
          <a:prstGeom prst="rect">
            <a:avLst/>
          </a:prstGeom>
        </p:spPr>
      </p:pic>
    </p:spTree>
    <p:extLst>
      <p:ext uri="{BB962C8B-B14F-4D97-AF65-F5344CB8AC3E}">
        <p14:creationId xmlns:p14="http://schemas.microsoft.com/office/powerpoint/2010/main" val="157736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 Screen Blue Split">
    <p:bg>
      <p:bgPr>
        <a:solidFill>
          <a:srgbClr val="142236"/>
        </a:solidFill>
        <a:effectLst/>
      </p:bgPr>
    </p:bg>
    <p:spTree>
      <p:nvGrpSpPr>
        <p:cNvPr id="1" name=""/>
        <p:cNvGrpSpPr/>
        <p:nvPr/>
      </p:nvGrpSpPr>
      <p:grpSpPr>
        <a:xfrm>
          <a:off x="0" y="0"/>
          <a:ext cx="0" cy="0"/>
          <a:chOff x="0" y="0"/>
          <a:chExt cx="0" cy="0"/>
        </a:xfrm>
      </p:grpSpPr>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2">
            <a:alphaModFix amt="8000"/>
            <a:extLst>
              <a:ext uri="{28A0092B-C50C-407E-A947-70E740481C1C}">
                <a14:useLocalDpi xmlns:a14="http://schemas.microsoft.com/office/drawing/2010/main" val="0"/>
              </a:ext>
            </a:extLst>
          </a:blip>
          <a:srcRect l="433" t="13903" r="13679"/>
          <a:stretch/>
        </p:blipFill>
        <p:spPr>
          <a:xfrm>
            <a:off x="6290031" y="0"/>
            <a:ext cx="5901970" cy="5916168"/>
          </a:xfrm>
          <a:prstGeom prst="rect">
            <a:avLst/>
          </a:prstGeom>
        </p:spPr>
      </p:pic>
      <p:pic>
        <p:nvPicPr>
          <p:cNvPr id="8" name="Picture 7" descr="A blue background with white dots&#10;&#10;Description automatically generated with low confidence">
            <a:extLst>
              <a:ext uri="{FF2B5EF4-FFF2-40B4-BE49-F238E27FC236}">
                <a16:creationId xmlns:a16="http://schemas.microsoft.com/office/drawing/2014/main" id="{2A6FB6BD-1E0C-E405-DE33-7CB04B84D9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11650"/>
            <a:ext cx="12192000" cy="2546350"/>
          </a:xfrm>
          <a:prstGeom prst="rect">
            <a:avLst/>
          </a:prstGeom>
        </p:spPr>
      </p:pic>
    </p:spTree>
    <p:extLst>
      <p:ext uri="{BB962C8B-B14F-4D97-AF65-F5344CB8AC3E}">
        <p14:creationId xmlns:p14="http://schemas.microsoft.com/office/powerpoint/2010/main" val="276303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arge Text Quote - Split Blue Screen">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FEA612E-97A1-A7AC-1141-1783F6D5BEF7}"/>
              </a:ext>
            </a:extLst>
          </p:cNvPr>
          <p:cNvSpPr/>
          <p:nvPr userDrawn="1"/>
        </p:nvSpPr>
        <p:spPr>
          <a:xfrm>
            <a:off x="0" y="1"/>
            <a:ext cx="12192000" cy="1196974"/>
          </a:xfrm>
          <a:prstGeom prst="rect">
            <a:avLst/>
          </a:prstGeom>
          <a:solidFill>
            <a:srgbClr val="14223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0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782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86232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1245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582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4915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510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A2EB6-8BFD-A016-9B1F-D943389441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E54D91-0DF3-D5AB-4D20-B2B31414ED67}"/>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4" name="Footer Placeholder 3">
            <a:extLst>
              <a:ext uri="{FF2B5EF4-FFF2-40B4-BE49-F238E27FC236}">
                <a16:creationId xmlns:a16="http://schemas.microsoft.com/office/drawing/2014/main" id="{09581B69-44D1-C90F-F1A7-3FFCA37903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74C85D-7E84-E788-4143-897E19FE1D9E}"/>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40997298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0652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54354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8129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1882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5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5194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26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3401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5182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6762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CCD71-0553-3FE9-3745-210A3923BD02}"/>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3" name="Footer Placeholder 2">
            <a:extLst>
              <a:ext uri="{FF2B5EF4-FFF2-40B4-BE49-F238E27FC236}">
                <a16:creationId xmlns:a16="http://schemas.microsoft.com/office/drawing/2014/main" id="{3D2820BC-945D-138C-4A12-FCA44185EC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583F69-1F8C-E0C1-C1DB-51702EF2726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67190354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518828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1698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88092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9471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11006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8DC8E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peaker name</a:t>
            </a:r>
          </a:p>
        </p:txBody>
      </p:sp>
    </p:spTree>
    <p:extLst>
      <p:ext uri="{BB962C8B-B14F-4D97-AF65-F5344CB8AC3E}">
        <p14:creationId xmlns:p14="http://schemas.microsoft.com/office/powerpoint/2010/main" val="70921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767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857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663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8DC8E8"/>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084F82DE-4BC1-CD7E-11BA-5CD56F84C0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8753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453DE-A130-D70E-E374-C3DE372C04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5C89-BBEE-C022-B2D8-F078426028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A69A6-1081-9184-4C66-4D08184F5E77}"/>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5" name="Footer Placeholder 4">
            <a:extLst>
              <a:ext uri="{FF2B5EF4-FFF2-40B4-BE49-F238E27FC236}">
                <a16:creationId xmlns:a16="http://schemas.microsoft.com/office/drawing/2014/main" id="{2271E1EC-6060-8E51-2DBE-2BB6EF2E61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25BCD-D55A-1054-913D-3E2221453D17}"/>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752445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EF6E-A097-2AA3-F597-109A647C1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546182-460E-E5CC-B96E-CC550968FD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334179-B1DD-3297-BC9D-CFDEDB313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7F63C-3101-1C10-BB65-62F011A27078}"/>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6" name="Footer Placeholder 5">
            <a:extLst>
              <a:ext uri="{FF2B5EF4-FFF2-40B4-BE49-F238E27FC236}">
                <a16:creationId xmlns:a16="http://schemas.microsoft.com/office/drawing/2014/main" id="{6D3503C7-3D33-9C63-392E-A4D964504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17BEA-C8E9-459D-BAB4-223E4A5D5B12}"/>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60254760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486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53899419-CDFF-5F45-6EAA-A21529E1DCDF}"/>
              </a:ext>
            </a:extLst>
          </p:cNvPr>
          <p:cNvSpPr>
            <a:spLocks noGrp="1"/>
          </p:cNvSpPr>
          <p:nvPr>
            <p:ph type="body" sz="quarter" idx="13" hasCustomPrompt="1"/>
          </p:nvPr>
        </p:nvSpPr>
        <p:spPr>
          <a:xfrm>
            <a:off x="563498" y="2340986"/>
            <a:ext cx="11045889"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7" name="Text Placeholder 4">
            <a:extLst>
              <a:ext uri="{FF2B5EF4-FFF2-40B4-BE49-F238E27FC236}">
                <a16:creationId xmlns:a16="http://schemas.microsoft.com/office/drawing/2014/main" id="{FA3DA89D-D932-0A40-95F3-571CF623C52F}"/>
              </a:ext>
            </a:extLst>
          </p:cNvPr>
          <p:cNvSpPr>
            <a:spLocks noGrp="1"/>
          </p:cNvSpPr>
          <p:nvPr>
            <p:ph type="body" sz="quarter" idx="16" hasCustomPrompt="1"/>
          </p:nvPr>
        </p:nvSpPr>
        <p:spPr>
          <a:xfrm>
            <a:off x="563498" y="2950406"/>
            <a:ext cx="11045890" cy="2154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2">
            <a:extLst>
              <a:ext uri="{FF2B5EF4-FFF2-40B4-BE49-F238E27FC236}">
                <a16:creationId xmlns:a16="http://schemas.microsoft.com/office/drawing/2014/main" id="{1FDE496F-DDA2-C8A2-4754-C0644024BDFE}"/>
              </a:ext>
            </a:extLst>
          </p:cNvPr>
          <p:cNvSpPr>
            <a:spLocks noGrp="1"/>
          </p:cNvSpPr>
          <p:nvPr>
            <p:ph type="body" sz="quarter" idx="11" hasCustomPrompt="1"/>
          </p:nvPr>
        </p:nvSpPr>
        <p:spPr>
          <a:xfrm>
            <a:off x="563499" y="3851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 style</a:t>
            </a:r>
            <a:endParaRPr lang="en-IN" sz="6600" b="1">
              <a:latin typeface="Segoe UI" panose="020B0502040204020203" pitchFamily="34" charset="0"/>
            </a:endParaRPr>
          </a:p>
        </p:txBody>
      </p:sp>
    </p:spTree>
    <p:extLst>
      <p:ext uri="{BB962C8B-B14F-4D97-AF65-F5344CB8AC3E}">
        <p14:creationId xmlns:p14="http://schemas.microsoft.com/office/powerpoint/2010/main" val="3242760983"/>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7972013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cSld name="Title+Content+Tagline">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2047875"/>
            <a:ext cx="11018838" cy="4107948"/>
          </a:xfrm>
        </p:spPr>
        <p:txBody>
          <a:bodyPr/>
          <a:lstStyle>
            <a:lvl1pPr>
              <a:defRPr>
                <a:solidFill>
                  <a:schemeClr val="tx2"/>
                </a:solidFill>
              </a:defRPr>
            </a:lvl1pPr>
            <a:lvl2pPr marL="173038" indent="-173038">
              <a:defRPr sz="2400">
                <a:solidFill>
                  <a:schemeClr val="tx2"/>
                </a:solidFill>
              </a:defRPr>
            </a:lvl2pPr>
            <a:lvl3pPr marL="339725" indent="-166688">
              <a:defRPr sz="2000">
                <a:solidFill>
                  <a:schemeClr val="tx2"/>
                </a:solidFill>
              </a:defRPr>
            </a:lvl3pPr>
            <a:lvl4pPr marL="514350" indent="-174625">
              <a:defRPr sz="1600">
                <a:solidFill>
                  <a:schemeClr val="tx2"/>
                </a:solidFill>
              </a:defRPr>
            </a:lvl4pPr>
            <a:lvl5pPr marL="687388" indent="-173038">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E6742881-7D15-4A87-9A7B-01480DD0C5DA}"/>
              </a:ext>
            </a:extLst>
          </p:cNvPr>
          <p:cNvSpPr>
            <a:spLocks noGrp="1"/>
          </p:cNvSpPr>
          <p:nvPr>
            <p:ph type="body" sz="quarter" idx="12"/>
          </p:nvPr>
        </p:nvSpPr>
        <p:spPr>
          <a:xfrm>
            <a:off x="581309" y="702178"/>
            <a:ext cx="11018837" cy="970959"/>
          </a:xfrm>
        </p:spPr>
        <p:txBody>
          <a:bodyPr/>
          <a:lstStyle>
            <a:lvl1pPr>
              <a:spcBef>
                <a:spcPts val="0"/>
              </a:spcBef>
              <a:spcAft>
                <a:spcPts val="0"/>
              </a:spcAft>
              <a:defRPr lang="en-US" sz="3600" b="0" kern="1200" cap="none" spc="-50" baseline="0" smtClean="0">
                <a:ln w="3175">
                  <a:noFill/>
                </a:ln>
                <a:solidFill>
                  <a:schemeClr val="tx2"/>
                </a:solidFill>
                <a:effectLst/>
                <a:latin typeface="+mj-lt"/>
                <a:ea typeface="+mn-ea"/>
                <a:cs typeface="Segoe UI" pitchFamily="34" charset="0"/>
              </a:defRPr>
            </a:lvl1pPr>
            <a:lvl2pPr marL="0" indent="0">
              <a:spcBef>
                <a:spcPts val="0"/>
              </a:spcBef>
              <a:buNone/>
              <a:defRPr lang="en-US" sz="2000" kern="1200" spc="0" baseline="0" dirty="0" smtClean="0">
                <a:solidFill>
                  <a:schemeClr val="tx2"/>
                </a:solidFill>
                <a:latin typeface="+mn-lt"/>
                <a:ea typeface="+mn-ea"/>
                <a:cs typeface="+mn-cs"/>
              </a:defRPr>
            </a:lvl2pPr>
            <a:lvl3pPr marL="227012" indent="0">
              <a:buNone/>
              <a:defRPr/>
            </a:lvl3pPr>
          </a:lstStyle>
          <a:p>
            <a:pPr lvl="0"/>
            <a:r>
              <a:rPr lang="en-US"/>
              <a:t>Click to edit Master text styles</a:t>
            </a:r>
          </a:p>
          <a:p>
            <a:pPr lvl="1"/>
            <a:r>
              <a:rPr lang="en-US"/>
              <a:t>Second level</a:t>
            </a:r>
          </a:p>
        </p:txBody>
      </p:sp>
      <p:grpSp>
        <p:nvGrpSpPr>
          <p:cNvPr id="9" name="Group 8">
            <a:extLst>
              <a:ext uri="{FF2B5EF4-FFF2-40B4-BE49-F238E27FC236}">
                <a16:creationId xmlns:a16="http://schemas.microsoft.com/office/drawing/2014/main" id="{4A1352EF-531C-633E-CF5B-FA98DD479060}"/>
              </a:ext>
            </a:extLst>
          </p:cNvPr>
          <p:cNvGrpSpPr/>
          <p:nvPr userDrawn="1"/>
        </p:nvGrpSpPr>
        <p:grpSpPr>
          <a:xfrm>
            <a:off x="-2393" y="1"/>
            <a:ext cx="12194393" cy="324013"/>
            <a:chOff x="-2393" y="1"/>
            <a:chExt cx="12194393" cy="324013"/>
          </a:xfrm>
        </p:grpSpPr>
        <p:pic>
          <p:nvPicPr>
            <p:cNvPr id="10" name="Picture 9">
              <a:extLst>
                <a:ext uri="{FF2B5EF4-FFF2-40B4-BE49-F238E27FC236}">
                  <a16:creationId xmlns:a16="http://schemas.microsoft.com/office/drawing/2014/main" id="{189C017F-EDD2-730B-005B-9F198B6DC897}"/>
                </a:ext>
              </a:extLst>
            </p:cNvPr>
            <p:cNvPicPr>
              <a:picLocks noChangeAspect="1"/>
            </p:cNvPicPr>
            <p:nvPr userDrawn="1"/>
          </p:nvPicPr>
          <p:blipFill rotWithShape="1">
            <a:blip r:embed="rId2"/>
            <a:srcRect b="95629"/>
            <a:stretch/>
          </p:blipFill>
          <p:spPr>
            <a:xfrm>
              <a:off x="-2393" y="57516"/>
              <a:ext cx="12194393" cy="266498"/>
            </a:xfrm>
            <a:prstGeom prst="rect">
              <a:avLst/>
            </a:prstGeom>
          </p:spPr>
        </p:pic>
        <p:sp>
          <p:nvSpPr>
            <p:cNvPr id="11" name="Rectangle 10">
              <a:extLst>
                <a:ext uri="{FF2B5EF4-FFF2-40B4-BE49-F238E27FC236}">
                  <a16:creationId xmlns:a16="http://schemas.microsoft.com/office/drawing/2014/main" id="{5CBA00B0-F44B-28D7-4B78-98F41399267D}"/>
                </a:ext>
              </a:extLst>
            </p:cNvPr>
            <p:cNvSpPr/>
            <p:nvPr userDrawn="1"/>
          </p:nvSpPr>
          <p:spPr bwMode="auto">
            <a:xfrm>
              <a:off x="0" y="1"/>
              <a:ext cx="12192000" cy="64496"/>
            </a:xfrm>
            <a:prstGeom prst="rect">
              <a:avLst/>
            </a:prstGeom>
            <a:solidFill>
              <a:srgbClr val="F3C1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E04336D7-DD4D-E04C-F256-B4DD9DC610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5492" y="6335548"/>
            <a:ext cx="1747108" cy="357073"/>
          </a:xfrm>
          <a:prstGeom prst="rect">
            <a:avLst/>
          </a:prstGeom>
        </p:spPr>
      </p:pic>
    </p:spTree>
    <p:extLst>
      <p:ext uri="{BB962C8B-B14F-4D97-AF65-F5344CB8AC3E}">
        <p14:creationId xmlns:p14="http://schemas.microsoft.com/office/powerpoint/2010/main" val="3988439912"/>
      </p:ext>
    </p:extLst>
  </p:cSld>
  <p:clrMapOvr>
    <a:masterClrMapping/>
  </p:clrMapOvr>
  <p:transition>
    <p:fade/>
  </p:transition>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ogo">
    <p:bg>
      <p:bgRef idx="1001">
        <a:schemeClr val="bg1"/>
      </p:bgRef>
    </p:bg>
    <p:spTree>
      <p:nvGrpSpPr>
        <p:cNvPr id="1" name=""/>
        <p:cNvGrpSpPr/>
        <p:nvPr/>
      </p:nvGrpSpPr>
      <p:grpSpPr>
        <a:xfrm>
          <a:off x="0" y="0"/>
          <a:ext cx="0" cy="0"/>
          <a:chOff x="0" y="0"/>
          <a:chExt cx="0" cy="0"/>
        </a:xfrm>
      </p:grpSpPr>
      <p:pic>
        <p:nvPicPr>
          <p:cNvPr id="8" name="Picture 7" descr="A person flying a parachute over a large wave&#10;&#10;Description automatically generated">
            <a:extLst>
              <a:ext uri="{FF2B5EF4-FFF2-40B4-BE49-F238E27FC236}">
                <a16:creationId xmlns:a16="http://schemas.microsoft.com/office/drawing/2014/main" id="{3C6A0333-3F31-0CB3-1D3D-EAD5DBFD4B3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1" r="17723" b="1"/>
          <a:stretch/>
        </p:blipFill>
        <p:spPr>
          <a:xfrm>
            <a:off x="0" y="1"/>
            <a:ext cx="12192000" cy="6857998"/>
          </a:xfrm>
          <a:prstGeom prst="rect">
            <a:avLst/>
          </a:prstGeom>
        </p:spPr>
      </p:pic>
      <p:sp>
        <p:nvSpPr>
          <p:cNvPr id="11" name="Rectangle 10">
            <a:extLst>
              <a:ext uri="{FF2B5EF4-FFF2-40B4-BE49-F238E27FC236}">
                <a16:creationId xmlns:a16="http://schemas.microsoft.com/office/drawing/2014/main" id="{C6A6BA93-5655-2490-3F45-ABF7C27BCA7A}"/>
              </a:ext>
            </a:extLst>
          </p:cNvPr>
          <p:cNvSpPr/>
          <p:nvPr userDrawn="1"/>
        </p:nvSpPr>
        <p:spPr bwMode="auto">
          <a:xfrm>
            <a:off x="-1" y="0"/>
            <a:ext cx="12191999" cy="6858000"/>
          </a:xfrm>
          <a:prstGeom prst="rect">
            <a:avLst/>
          </a:prstGeom>
          <a:gradFill flip="none" rotWithShape="1">
            <a:gsLst>
              <a:gs pos="0">
                <a:srgbClr val="091F2C"/>
              </a:gs>
              <a:gs pos="49000">
                <a:srgbClr val="091F2C">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descr="A white and blue logo&#10;&#10;Description automatically generated">
            <a:extLst>
              <a:ext uri="{FF2B5EF4-FFF2-40B4-BE49-F238E27FC236}">
                <a16:creationId xmlns:a16="http://schemas.microsoft.com/office/drawing/2014/main" id="{F620DBDF-DC5F-FACE-63D4-92787CCE16DD}"/>
              </a:ext>
            </a:extLst>
          </p:cNvPr>
          <p:cNvPicPr>
            <a:picLocks noChangeAspect="1"/>
          </p:cNvPicPr>
          <p:nvPr userDrawn="1"/>
        </p:nvPicPr>
        <p:blipFill>
          <a:blip r:embed="rId3"/>
          <a:stretch>
            <a:fillRect/>
          </a:stretch>
        </p:blipFill>
        <p:spPr>
          <a:xfrm>
            <a:off x="571500" y="4409754"/>
            <a:ext cx="5928372" cy="1859284"/>
          </a:xfrm>
          <a:prstGeom prst="rect">
            <a:avLst/>
          </a:prstGeom>
        </p:spPr>
      </p:pic>
    </p:spTree>
    <p:extLst>
      <p:ext uri="{BB962C8B-B14F-4D97-AF65-F5344CB8AC3E}">
        <p14:creationId xmlns:p14="http://schemas.microsoft.com/office/powerpoint/2010/main" val="2265992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A wave in the ocean&#10;&#10;Description automatically generated">
            <a:extLst>
              <a:ext uri="{FF2B5EF4-FFF2-40B4-BE49-F238E27FC236}">
                <a16:creationId xmlns:a16="http://schemas.microsoft.com/office/drawing/2014/main" id="{2DC1664B-827B-C615-8156-E53EFE68D5E8}"/>
              </a:ext>
            </a:extLst>
          </p:cNvPr>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l="14987" r="16814"/>
          <a:stretch/>
        </p:blipFill>
        <p:spPr>
          <a:xfrm>
            <a:off x="-1" y="0"/>
            <a:ext cx="12192001" cy="6868168"/>
          </a:xfrm>
          <a:prstGeom prst="rect">
            <a:avLst/>
          </a:prstGeom>
        </p:spPr>
      </p:pic>
      <p:sp>
        <p:nvSpPr>
          <p:cNvPr id="20" name="Rectangle 19">
            <a:extLst>
              <a:ext uri="{FF2B5EF4-FFF2-40B4-BE49-F238E27FC236}">
                <a16:creationId xmlns:a16="http://schemas.microsoft.com/office/drawing/2014/main" id="{B266E641-7310-BE8E-2098-CC22FC0409E5}"/>
              </a:ext>
            </a:extLst>
          </p:cNvPr>
          <p:cNvSpPr/>
          <p:nvPr userDrawn="1"/>
        </p:nvSpPr>
        <p:spPr bwMode="auto">
          <a:xfrm>
            <a:off x="1" y="0"/>
            <a:ext cx="12191999" cy="6858000"/>
          </a:xfrm>
          <a:prstGeom prst="rect">
            <a:avLst/>
          </a:prstGeom>
          <a:gradFill flip="none" rotWithShape="1">
            <a:gsLst>
              <a:gs pos="0">
                <a:srgbClr val="091F2C">
                  <a:alpha val="25000"/>
                </a:srgbClr>
              </a:gs>
              <a:gs pos="53000">
                <a:srgbClr val="091F2C">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66DE36F0-B13B-4542-E7D6-3F79E3DE4C8D}"/>
              </a:ext>
            </a:extLst>
          </p:cNvPr>
          <p:cNvSpPr/>
          <p:nvPr userDrawn="1"/>
        </p:nvSpPr>
        <p:spPr bwMode="auto">
          <a:xfrm>
            <a:off x="0" y="0"/>
            <a:ext cx="10478348" cy="6858000"/>
          </a:xfrm>
          <a:prstGeom prst="rect">
            <a:avLst/>
          </a:prstGeom>
          <a:gradFill>
            <a:gsLst>
              <a:gs pos="50000">
                <a:srgbClr val="091F2C">
                  <a:alpha val="64983"/>
                </a:srgbClr>
              </a:gs>
              <a:gs pos="0">
                <a:srgbClr val="091F2C"/>
              </a:gs>
              <a:gs pos="100000">
                <a:srgbClr val="091F2C">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A parachute with a black background&#10;&#10;Description automatically generated">
            <a:extLst>
              <a:ext uri="{FF2B5EF4-FFF2-40B4-BE49-F238E27FC236}">
                <a16:creationId xmlns:a16="http://schemas.microsoft.com/office/drawing/2014/main" id="{CC055EE1-8213-72AA-DA45-0D2EBA335EEA}"/>
              </a:ext>
            </a:extLst>
          </p:cNvPr>
          <p:cNvPicPr>
            <a:picLocks noChangeAspect="1"/>
          </p:cNvPicPr>
          <p:nvPr userDrawn="1"/>
        </p:nvPicPr>
        <p:blipFill>
          <a:blip r:embed="rId3"/>
          <a:stretch>
            <a:fillRect/>
          </a:stretch>
        </p:blipFill>
        <p:spPr>
          <a:xfrm rot="20788666">
            <a:off x="10447861" y="1230345"/>
            <a:ext cx="1340327" cy="1864802"/>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21" name="Picture 20" descr="A white and blue logo&#10;&#10;Description automatically generated">
            <a:extLst>
              <a:ext uri="{FF2B5EF4-FFF2-40B4-BE49-F238E27FC236}">
                <a16:creationId xmlns:a16="http://schemas.microsoft.com/office/drawing/2014/main" id="{52205E4F-8268-8C59-6E15-D2B379AFC0C1}"/>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1830828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1"/>
      </p:bgRef>
    </p:bg>
    <p:spTree>
      <p:nvGrpSpPr>
        <p:cNvPr id="1" name=""/>
        <p:cNvGrpSpPr/>
        <p:nvPr/>
      </p:nvGrpSpPr>
      <p:grpSpPr>
        <a:xfrm>
          <a:off x="0" y="0"/>
          <a:ext cx="0" cy="0"/>
          <a:chOff x="0" y="0"/>
          <a:chExt cx="0" cy="0"/>
        </a:xfrm>
      </p:grpSpPr>
      <p:pic>
        <p:nvPicPr>
          <p:cNvPr id="4" name="Picture 3" descr="A person climbing a rock&#10;&#10;Description automatically generated">
            <a:extLst>
              <a:ext uri="{FF2B5EF4-FFF2-40B4-BE49-F238E27FC236}">
                <a16:creationId xmlns:a16="http://schemas.microsoft.com/office/drawing/2014/main" id="{860BD3FD-A22F-32B7-3FD5-02AE685C2CF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A2C1D95-15C5-BF19-11D0-28485F87E699}"/>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63294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020E"/>
        </a:solidFill>
        <a:effectLst/>
      </p:bgPr>
    </p:bg>
    <p:spTree>
      <p:nvGrpSpPr>
        <p:cNvPr id="1" name=""/>
        <p:cNvGrpSpPr/>
        <p:nvPr/>
      </p:nvGrpSpPr>
      <p:grpSpPr>
        <a:xfrm>
          <a:off x="0" y="0"/>
          <a:ext cx="0" cy="0"/>
          <a:chOff x="0" y="0"/>
          <a:chExt cx="0" cy="0"/>
        </a:xfrm>
      </p:grpSpPr>
      <p:pic>
        <p:nvPicPr>
          <p:cNvPr id="6" name="Picture 5" descr="A person on a snowboard jumping&#10;&#10;Description automatically generated">
            <a:extLst>
              <a:ext uri="{FF2B5EF4-FFF2-40B4-BE49-F238E27FC236}">
                <a16:creationId xmlns:a16="http://schemas.microsoft.com/office/drawing/2014/main" id="{9B67CB32-A1D7-7531-DE88-8EF27CB635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652118" y="0"/>
            <a:ext cx="8539882" cy="6858000"/>
          </a:xfrm>
          <a:prstGeom prst="rect">
            <a:avLst/>
          </a:prstGeom>
        </p:spPr>
      </p:pic>
      <p:sp>
        <p:nvSpPr>
          <p:cNvPr id="8" name="Rectangle 7">
            <a:extLst>
              <a:ext uri="{FF2B5EF4-FFF2-40B4-BE49-F238E27FC236}">
                <a16:creationId xmlns:a16="http://schemas.microsoft.com/office/drawing/2014/main" id="{BBB1A7C9-4430-8D63-B3E2-5382A4C66856}"/>
              </a:ext>
            </a:extLst>
          </p:cNvPr>
          <p:cNvSpPr/>
          <p:nvPr userDrawn="1"/>
        </p:nvSpPr>
        <p:spPr bwMode="auto">
          <a:xfrm>
            <a:off x="3652118" y="0"/>
            <a:ext cx="1624075" cy="6858000"/>
          </a:xfrm>
          <a:prstGeom prst="rect">
            <a:avLst/>
          </a:prstGeom>
          <a:gradFill flip="none" rotWithShape="1">
            <a:gsLst>
              <a:gs pos="0">
                <a:srgbClr val="00020E"/>
              </a:gs>
              <a:gs pos="86000">
                <a:srgbClr val="00020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8" name="Picture 17" descr="A white and blue logo&#10;&#10;Description automatically generated">
            <a:extLst>
              <a:ext uri="{FF2B5EF4-FFF2-40B4-BE49-F238E27FC236}">
                <a16:creationId xmlns:a16="http://schemas.microsoft.com/office/drawing/2014/main" id="{665CF665-3254-E209-0317-62D8CBB9CEF9}"/>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359653"/>
            <a:ext cx="3204779" cy="1005098"/>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062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00020E"/>
        </a:solidFill>
        <a:effectLst/>
      </p:bgPr>
    </p:bg>
    <p:spTree>
      <p:nvGrpSpPr>
        <p:cNvPr id="1" name=""/>
        <p:cNvGrpSpPr/>
        <p:nvPr/>
      </p:nvGrpSpPr>
      <p:grpSpPr>
        <a:xfrm>
          <a:off x="0" y="0"/>
          <a:ext cx="0" cy="0"/>
          <a:chOff x="0" y="0"/>
          <a:chExt cx="0" cy="0"/>
        </a:xfrm>
      </p:grpSpPr>
      <p:pic>
        <p:nvPicPr>
          <p:cNvPr id="3" name="Picture 2" descr="A person climbing a rock&#10;&#10;Description automatically generated">
            <a:extLst>
              <a:ext uri="{FF2B5EF4-FFF2-40B4-BE49-F238E27FC236}">
                <a16:creationId xmlns:a16="http://schemas.microsoft.com/office/drawing/2014/main" id="{525A1C4C-EA97-FDEE-FE26-18605D791C1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A9E5298-12EA-3F93-BBAD-0EDFAEA4C2E8}"/>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white and blue logo&#10;&#10;Description automatically generated">
            <a:extLst>
              <a:ext uri="{FF2B5EF4-FFF2-40B4-BE49-F238E27FC236}">
                <a16:creationId xmlns:a16="http://schemas.microsoft.com/office/drawing/2014/main" id="{8FA30398-0FC0-294A-80EE-89137E8315D7}"/>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3158243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644D2A-98E6-741D-32B1-B3A9F1A41C0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415721" y="5355504"/>
            <a:ext cx="3208719" cy="1006333"/>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D066375C-DE83-22D7-32E6-A6940F9CF0C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05761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B875A-B532-7F19-6286-F649DB8DE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D49748-17A7-82D7-E47D-C4C398B83F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459345C-657D-2E11-5CA1-F656BAE3A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DAED0-B4A2-70EE-3A68-D8E544A06ED2}"/>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6" name="Footer Placeholder 5">
            <a:extLst>
              <a:ext uri="{FF2B5EF4-FFF2-40B4-BE49-F238E27FC236}">
                <a16:creationId xmlns:a16="http://schemas.microsoft.com/office/drawing/2014/main" id="{BB1E3F01-D7C9-C8C8-6D93-A138F0FA57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BA80B-FDAE-96CB-5C2F-6FD8BC1AEADC}"/>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88128824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blue and black logo&#10;&#10;Description automatically generated">
            <a:extLst>
              <a:ext uri="{FF2B5EF4-FFF2-40B4-BE49-F238E27FC236}">
                <a16:creationId xmlns:a16="http://schemas.microsoft.com/office/drawing/2014/main" id="{966D342F-FACD-8DC3-D12D-423461DEC18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2126331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321BD456-98EC-5155-EE50-6C72830E86C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7662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E6C6A68F-701F-C515-39E0-DB414EBDD9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07320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9DED4E15-93DE-8B6F-6C4B-BAA3AE0387C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733096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D2021C02-52CE-F52E-3A14-5051B229B8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4333526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blue and black logo&#10;&#10;Description automatically generated">
            <a:extLst>
              <a:ext uri="{FF2B5EF4-FFF2-40B4-BE49-F238E27FC236}">
                <a16:creationId xmlns:a16="http://schemas.microsoft.com/office/drawing/2014/main" id="{87241772-1BC3-D489-A861-37677E2FC0C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293478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2FE0099E-EE36-0FDC-5DA7-6905BD986F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4144001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solidFill>
                  <a:schemeClr val="accent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solidFill>
                  <a:schemeClr val="accent1"/>
                </a:soli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AFC4CB7F-1B3A-A65D-9BC1-CCCB6123275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6449181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0B495C1D-B898-4B4E-E4D9-F5D515E4511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7717030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white background with wavy lines&#10;&#10;Description automatically generated">
            <a:extLst>
              <a:ext uri="{FF2B5EF4-FFF2-40B4-BE49-F238E27FC236}">
                <a16:creationId xmlns:a16="http://schemas.microsoft.com/office/drawing/2014/main" id="{71A1A67B-3DB3-7C5C-5A62-F7121EB66EC9}"/>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018" t="21250" r="8859" b="5437"/>
          <a:stretch/>
        </p:blipFill>
        <p:spPr>
          <a:xfrm flipH="1" flipV="1">
            <a:off x="0" y="0"/>
            <a:ext cx="12224927"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500A92E2-F214-597B-C975-5297DA2E704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808129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BE2F-EC19-7EF5-00A8-EEB415873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0DC70B-5297-7D0A-4027-E0558C4CC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BCB4C2-F5C9-A744-3868-EFE8F4FD666F}"/>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5" name="Footer Placeholder 4">
            <a:extLst>
              <a:ext uri="{FF2B5EF4-FFF2-40B4-BE49-F238E27FC236}">
                <a16:creationId xmlns:a16="http://schemas.microsoft.com/office/drawing/2014/main" id="{A03F290F-00D7-4FF6-BF6C-B2E7AD206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827C5-847E-3D10-13AD-E0FA7DF2B11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54710278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D74200AB-46B3-C777-EA79-E5B7FF7089D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85177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427A1A8D-AE7C-8AC4-41C9-77179C5A9EE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839945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19456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BB962914-1A0F-3D79-AF53-FDA6926021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853959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4920932"/>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CB2ED6C-56A0-4B8D-FE0A-144556C650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904839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Tree>
    <p:extLst>
      <p:ext uri="{BB962C8B-B14F-4D97-AF65-F5344CB8AC3E}">
        <p14:creationId xmlns:p14="http://schemas.microsoft.com/office/powerpoint/2010/main" val="9883325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2718320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8000">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97172988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870257"/>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9E2E79D3-62B1-E90F-3614-F275E62BDF8E}"/>
              </a:ext>
            </a:extLst>
          </p:cNvPr>
          <p:cNvSpPr>
            <a:spLocks noGrp="1"/>
          </p:cNvSpPr>
          <p:nvPr>
            <p:ph type="pic" sz="quarter" idx="12" hasCustomPrompt="1"/>
          </p:nvPr>
        </p:nvSpPr>
        <p:spPr bwMode="ltGray">
          <a:xfrm>
            <a:off x="-2381" y="0"/>
            <a:ext cx="12192000" cy="5419725"/>
          </a:xfrm>
          <a:gradFill flip="none" rotWithShape="1">
            <a:gsLst>
              <a:gs pos="48000">
                <a:schemeClr val="accent1"/>
              </a:gs>
              <a:gs pos="100000">
                <a:srgbClr val="8DC8E8"/>
              </a:gs>
              <a:gs pos="60000">
                <a:schemeClr val="accent1"/>
              </a:gs>
            </a:gsLst>
            <a:lin ang="18900000" scaled="1"/>
            <a:tileRect/>
          </a:gradFill>
        </p:spPr>
        <p:txBody>
          <a:bodyPr vert="horz" wrap="square" lIns="0" tIns="1280160" rIns="0" bIns="0" rtlCol="0" anchor="t" anchorCtr="0">
            <a:noAutofit/>
          </a:bodyPr>
          <a:lstStyle>
            <a:lvl1pPr>
              <a:defRPr lang="en-US" sz="1400" b="1" dirty="0">
                <a:solidFill>
                  <a:schemeClr val="bg1"/>
                </a:solidFill>
              </a:defRPr>
            </a:lvl1pPr>
          </a:lstStyle>
          <a:p>
            <a:pPr lvl="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2931769F-1326-1ACC-7A62-FAFDEC98C0A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946220"/>
            <a:ext cx="1311493" cy="340516"/>
          </a:xfrm>
          <a:prstGeom prst="rect">
            <a:avLst/>
          </a:prstGeom>
        </p:spPr>
      </p:pic>
    </p:spTree>
    <p:extLst>
      <p:ext uri="{BB962C8B-B14F-4D97-AF65-F5344CB8AC3E}">
        <p14:creationId xmlns:p14="http://schemas.microsoft.com/office/powerpoint/2010/main" val="26211558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1438274"/>
            <a:ext cx="12192000" cy="5419725"/>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1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3" name="Picture 2" descr="A blue and black logo&#10;&#10;Description automatically generated">
            <a:extLst>
              <a:ext uri="{FF2B5EF4-FFF2-40B4-BE49-F238E27FC236}">
                <a16:creationId xmlns:a16="http://schemas.microsoft.com/office/drawing/2014/main" id="{6A026403-4EBE-C5BC-D739-D2DC5EA8FB0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0489899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C69F239-31DE-2624-BF1B-B5D1F035D31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089426029"/>
      </p:ext>
    </p:extLst>
  </p:cSld>
  <p:clrMapOvr>
    <a:masterClrMapping/>
  </p:clrMapOvr>
  <p:transition>
    <p:fade/>
  </p:transition>
  <p:extLst>
    <p:ext uri="{DCECCB84-F9BA-43D5-87BE-67443E8EF086}">
      <p15:sldGuideLst xmlns:p15="http://schemas.microsoft.com/office/powerpoint/2012/main">
        <p15:guide id="5" orient="horz" pos="312">
          <p15:clr>
            <a:srgbClr val="5ACBF0"/>
          </p15:clr>
        </p15:guide>
        <p15:guide id="6" pos="3749">
          <p15:clr>
            <a:srgbClr val="5ACBF0"/>
          </p15:clr>
        </p15:guide>
        <p15:guide id="7" pos="3931">
          <p15:clr>
            <a:srgbClr val="5ACBF0"/>
          </p15:clr>
        </p15:guide>
        <p15:guide id="9" orient="horz" pos="90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5BC86-F444-B739-D50A-EE8051D83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CBFC86-8B42-084B-39BC-1E70E6EC5F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70138-DFAA-51AE-CBFE-CBA32F28A6DB}"/>
              </a:ext>
            </a:extLst>
          </p:cNvPr>
          <p:cNvSpPr>
            <a:spLocks noGrp="1"/>
          </p:cNvSpPr>
          <p:nvPr>
            <p:ph type="dt" sz="half" idx="10"/>
          </p:nvPr>
        </p:nvSpPr>
        <p:spPr/>
        <p:txBody>
          <a:bodyPr/>
          <a:lstStyle/>
          <a:p>
            <a:fld id="{88682225-E3C5-4C9D-8690-2121BC1BDB6A}" type="datetimeFigureOut">
              <a:rPr lang="en-US" smtClean="0"/>
              <a:t>4/17/2025</a:t>
            </a:fld>
            <a:endParaRPr lang="en-US"/>
          </a:p>
        </p:txBody>
      </p:sp>
      <p:sp>
        <p:nvSpPr>
          <p:cNvPr id="5" name="Footer Placeholder 4">
            <a:extLst>
              <a:ext uri="{FF2B5EF4-FFF2-40B4-BE49-F238E27FC236}">
                <a16:creationId xmlns:a16="http://schemas.microsoft.com/office/drawing/2014/main" id="{C1E695B6-125B-6FBB-0A8C-DDE76B90F4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7DBE6-0A90-356F-0CC0-5BAF0053178D}"/>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81855763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572EBB8-0DB4-1094-218E-22E9AB058D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962992121"/>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80B3C1C-6CFE-131B-792C-647DF9CE67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142539420"/>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481513"/>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4481513"/>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39A8762A-F5F7-1DB2-86EB-1BFD8B7902C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94694246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53368"/>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3952177"/>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3952178"/>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EF103D3C-D4C0-3A7F-9430-56A338D4D59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523739912"/>
      </p:ext>
    </p:extLst>
  </p:cSld>
  <p:clrMapOvr>
    <a:masterClrMapping/>
  </p:clrMapOvr>
  <p:transition>
    <p:fade/>
  </p:transition>
  <p:extLst>
    <p:ext uri="{DCECCB84-F9BA-43D5-87BE-67443E8EF086}">
      <p15:sldGuideLst xmlns:p15="http://schemas.microsoft.com/office/powerpoint/2012/main">
        <p15:guide id="1" orient="horz" pos="900">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6740"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48113"/>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3946922"/>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3946923"/>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3946922"/>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5" name="Picture 4" descr="A blue and black logo&#10;&#10;Description automatically generated">
            <a:extLst>
              <a:ext uri="{FF2B5EF4-FFF2-40B4-BE49-F238E27FC236}">
                <a16:creationId xmlns:a16="http://schemas.microsoft.com/office/drawing/2014/main" id="{1146C6E0-F407-6D49-F8D2-433B2EFCD67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11975544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457200"/>
            <a:ext cx="11019538"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3948113"/>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3946922"/>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3946923"/>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5E7B2967-59B9-01B8-C15F-8EA271514BC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3562693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A1AA094F-0960-DA4E-E070-9861AC68DF0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20408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50E767AA-D591-524C-8B52-4466E5C7D61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5554697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0DEC6920-08BA-F198-6FF4-962983E4F27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6940897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869892"/>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869893"/>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579381"/>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579381"/>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8F479644-EB9A-27D4-EE17-0222268B3C5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375285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D3E9-C80C-5E2B-2340-E6C9BB622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832ED-48BA-F00F-BE99-1C3773C29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099028-DEB7-B66D-E52F-6E4EA294AF88}"/>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5" name="Footer Placeholder 4">
            <a:extLst>
              <a:ext uri="{FF2B5EF4-FFF2-40B4-BE49-F238E27FC236}">
                <a16:creationId xmlns:a16="http://schemas.microsoft.com/office/drawing/2014/main" id="{077965FF-2D1D-1A05-4C4C-BBFDDA068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8EB898-7574-7B55-7CD4-4568017B7A1C}"/>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36198945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937BA599-7CCB-C4DC-9B4F-6A3A691CCD5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57946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52001"/>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8" name="Picture 7">
            <a:extLst>
              <a:ext uri="{FF2B5EF4-FFF2-40B4-BE49-F238E27FC236}">
                <a16:creationId xmlns:a16="http://schemas.microsoft.com/office/drawing/2014/main" id="{070A2075-D92D-445F-E397-025635C337C4}"/>
              </a:ext>
            </a:extLst>
          </p:cNvPr>
          <p:cNvPicPr>
            <a:picLocks noChangeAspect="1"/>
          </p:cNvPicPr>
          <p:nvPr userDrawn="1"/>
        </p:nvPicPr>
        <p:blipFill rotWithShape="1">
          <a:blip r:embed="rId2">
            <a:alphaModFix amt="50000"/>
          </a:blip>
          <a:srcRect t="2212" b="12568"/>
          <a:stretch/>
        </p:blipFill>
        <p:spPr>
          <a:xfrm>
            <a:off x="6078609" y="1"/>
            <a:ext cx="5694158" cy="6858000"/>
          </a:xfrm>
          <a:prstGeom prst="rect">
            <a:avLst/>
          </a:prstGeom>
        </p:spPr>
      </p:pic>
      <p:pic>
        <p:nvPicPr>
          <p:cNvPr id="11" name="Picture 10" descr="A white and blue logo&#10;&#10;Description automatically generated">
            <a:extLst>
              <a:ext uri="{FF2B5EF4-FFF2-40B4-BE49-F238E27FC236}">
                <a16:creationId xmlns:a16="http://schemas.microsoft.com/office/drawing/2014/main" id="{0E34E7CB-2D27-C519-3334-E0D39EA8ECF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79015"/>
            <a:ext cx="2721303" cy="853468"/>
          </a:xfrm>
          <a:prstGeom prst="rect">
            <a:avLst/>
          </a:prstGeom>
        </p:spPr>
      </p:pic>
    </p:spTree>
    <p:extLst>
      <p:ext uri="{BB962C8B-B14F-4D97-AF65-F5344CB8AC3E}">
        <p14:creationId xmlns:p14="http://schemas.microsoft.com/office/powerpoint/2010/main" val="31725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195"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3" name="Picture 2" descr="A white and blue logo&#10;&#10;Description automatically generated">
            <a:extLst>
              <a:ext uri="{FF2B5EF4-FFF2-40B4-BE49-F238E27FC236}">
                <a16:creationId xmlns:a16="http://schemas.microsoft.com/office/drawing/2014/main" id="{A45EFB02-5ECB-0F59-8E5A-9534D05AD19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03137" y="5508369"/>
            <a:ext cx="2721303" cy="853468"/>
          </a:xfrm>
          <a:prstGeom prst="rect">
            <a:avLst/>
          </a:prstGeom>
        </p:spPr>
      </p:pic>
    </p:spTree>
    <p:extLst>
      <p:ext uri="{BB962C8B-B14F-4D97-AF65-F5344CB8AC3E}">
        <p14:creationId xmlns:p14="http://schemas.microsoft.com/office/powerpoint/2010/main" val="414713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7" name="Picture 6">
            <a:extLst>
              <a:ext uri="{FF2B5EF4-FFF2-40B4-BE49-F238E27FC236}">
                <a16:creationId xmlns:a16="http://schemas.microsoft.com/office/drawing/2014/main" id="{F206DA1E-F75F-1E05-96DB-64B17CC6488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12945" y="5511445"/>
            <a:ext cx="2711495" cy="850392"/>
          </a:xfrm>
          <a:prstGeom prst="rect">
            <a:avLst/>
          </a:prstGeom>
        </p:spPr>
      </p:pic>
    </p:spTree>
    <p:extLst>
      <p:ext uri="{BB962C8B-B14F-4D97-AF65-F5344CB8AC3E}">
        <p14:creationId xmlns:p14="http://schemas.microsoft.com/office/powerpoint/2010/main" val="3501366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4118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0908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38445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EDD1A-0788-0F1B-45FD-74AC0203B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DBA3D2-BC4A-7C14-298D-6E02CC9493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D5CD4-8944-548D-2099-0FC2E180C5A3}"/>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5" name="Footer Placeholder 4">
            <a:extLst>
              <a:ext uri="{FF2B5EF4-FFF2-40B4-BE49-F238E27FC236}">
                <a16:creationId xmlns:a16="http://schemas.microsoft.com/office/drawing/2014/main" id="{356E5855-69BC-5399-4168-B983EC633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0302E-4A05-CD55-3358-170C5DAB85C8}"/>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21837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F4E1-E3E7-582E-AFAE-063A27CE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E878BE-B61D-C823-E70F-3716431555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2838C4-7C15-EA99-26B3-141DBA9A8BCB}"/>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5" name="Footer Placeholder 4">
            <a:extLst>
              <a:ext uri="{FF2B5EF4-FFF2-40B4-BE49-F238E27FC236}">
                <a16:creationId xmlns:a16="http://schemas.microsoft.com/office/drawing/2014/main" id="{F1F1D68E-1FAC-3BF6-CB50-FDF4DECE8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CF844-2E07-DFA2-C5A2-E646F522FA33}"/>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73006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B37E3-F5D0-7665-EA60-29B69348EA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BA1266-53C8-91E9-38DB-61B77ED84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8B59AD-D496-D323-4AE1-1F6E6CF56F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1D3B91-336D-5304-5D49-0548B80A8086}"/>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6" name="Footer Placeholder 5">
            <a:extLst>
              <a:ext uri="{FF2B5EF4-FFF2-40B4-BE49-F238E27FC236}">
                <a16:creationId xmlns:a16="http://schemas.microsoft.com/office/drawing/2014/main" id="{C3F7D87B-494E-C407-9CC0-AFAC8954E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0AB03A-5C90-6565-168F-6269DCE04579}"/>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972950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D3CDC-135E-8653-9B70-F111B4FEC4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71409-D2D2-FECC-587F-8542344773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E0BB42-CFBA-E143-EAF4-15406D55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F9121E-2E7C-A44E-386B-D986EC332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C682D2-7E5A-7F27-6A7F-96B1626A1B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FA790F-836D-1C99-4C16-5608AD7C70C3}"/>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8" name="Footer Placeholder 7">
            <a:extLst>
              <a:ext uri="{FF2B5EF4-FFF2-40B4-BE49-F238E27FC236}">
                <a16:creationId xmlns:a16="http://schemas.microsoft.com/office/drawing/2014/main" id="{F15C9A24-2488-5DBF-B301-6B373DB2FF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6925C4-51A8-4FEF-A598-9975BC97030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58836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4E2ED-7F43-DD1E-FC0C-CDB9BA9F3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D787ED-B939-52C2-578D-05A0F4370050}"/>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4" name="Footer Placeholder 3">
            <a:extLst>
              <a:ext uri="{FF2B5EF4-FFF2-40B4-BE49-F238E27FC236}">
                <a16:creationId xmlns:a16="http://schemas.microsoft.com/office/drawing/2014/main" id="{F9FED6CE-3F55-AB1B-EEC4-65FD8AF7C2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26A12E-521A-DCDB-23BB-8A16A81DA9B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78923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03DD-D961-8F7D-36E2-90775829C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C7117F-7E54-340A-FDA7-BBD9A28529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679FF9-DB72-9666-F9EE-73A55A809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16469E-EC97-9BA7-9B59-0FCDD9CC3BCD}"/>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6" name="Footer Placeholder 5">
            <a:extLst>
              <a:ext uri="{FF2B5EF4-FFF2-40B4-BE49-F238E27FC236}">
                <a16:creationId xmlns:a16="http://schemas.microsoft.com/office/drawing/2014/main" id="{2CFE4519-6BC4-412B-83D1-68E8B2C15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A1FED1-EC6E-D153-D671-A843FE71FDFD}"/>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127369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F6567F-1C97-8295-B359-F1AADA024766}"/>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3" name="Footer Placeholder 2">
            <a:extLst>
              <a:ext uri="{FF2B5EF4-FFF2-40B4-BE49-F238E27FC236}">
                <a16:creationId xmlns:a16="http://schemas.microsoft.com/office/drawing/2014/main" id="{088F6034-719E-AEE0-65F7-7885FFBBB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A6E847-6837-B095-C107-F14C3B5673B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3336540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9EED-D4AD-D315-AA1A-D1464ABD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7A8311-B379-6E4B-F1DC-81D184C671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0F5BD1-845A-0DA3-F9FC-0C4A3062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8267DF-D98E-67D4-FCE1-24D9988C470E}"/>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6" name="Footer Placeholder 5">
            <a:extLst>
              <a:ext uri="{FF2B5EF4-FFF2-40B4-BE49-F238E27FC236}">
                <a16:creationId xmlns:a16="http://schemas.microsoft.com/office/drawing/2014/main" id="{A975862B-B677-400C-DAE5-CC7D995F4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23416E-56EB-D6C5-DC22-EFDD333E436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48355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8D259-A08A-522C-A63A-2180711B51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12F553-AAE1-9E05-0422-4BBA13C20C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C27438-EE07-70CB-BC06-4752BED6F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CE475-2EBA-3A86-9C8E-BE85DFB6AC80}"/>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6" name="Footer Placeholder 5">
            <a:extLst>
              <a:ext uri="{FF2B5EF4-FFF2-40B4-BE49-F238E27FC236}">
                <a16:creationId xmlns:a16="http://schemas.microsoft.com/office/drawing/2014/main" id="{9F6C5EEB-C971-19DB-94BB-F935396B2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3921CE-97CD-58A1-3E54-F3D6833ED67E}"/>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822214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5B62-F415-62AD-8808-031376CD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EEC118-F984-D97C-D6D6-BD2FB1F496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D23E0-567B-4CAA-783F-E38A7FE7B19D}"/>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5" name="Footer Placeholder 4">
            <a:extLst>
              <a:ext uri="{FF2B5EF4-FFF2-40B4-BE49-F238E27FC236}">
                <a16:creationId xmlns:a16="http://schemas.microsoft.com/office/drawing/2014/main" id="{5AA7D27D-7049-6359-5116-AEDA43A9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7B477-3913-F381-93D5-6D729213CC1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089662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05AF6-FE93-E746-A122-D07ACA0982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CD1A1C-CFE1-A687-356C-D5912AD391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8CC1B-7F8A-7C18-21A4-7F2A33C1CCEE}"/>
              </a:ext>
            </a:extLst>
          </p:cNvPr>
          <p:cNvSpPr>
            <a:spLocks noGrp="1"/>
          </p:cNvSpPr>
          <p:nvPr>
            <p:ph type="dt" sz="half" idx="10"/>
          </p:nvPr>
        </p:nvSpPr>
        <p:spPr/>
        <p:txBody>
          <a:bodyPr/>
          <a:lstStyle/>
          <a:p>
            <a:fld id="{F52E98E9-9483-43F5-822B-0976D10601F4}" type="datetimeFigureOut">
              <a:rPr lang="en-US" smtClean="0"/>
              <a:t>4/17/2025</a:t>
            </a:fld>
            <a:endParaRPr lang="en-US"/>
          </a:p>
        </p:txBody>
      </p:sp>
      <p:sp>
        <p:nvSpPr>
          <p:cNvPr id="5" name="Footer Placeholder 4">
            <a:extLst>
              <a:ext uri="{FF2B5EF4-FFF2-40B4-BE49-F238E27FC236}">
                <a16:creationId xmlns:a16="http://schemas.microsoft.com/office/drawing/2014/main" id="{504F0A3F-8968-88CC-1539-45715859E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A16AE-4EF5-9B84-2CFC-62BA15ADDE2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94907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8135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09100360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454142"/>
                </a:solidFill>
              </a:defRPr>
            </a:lvl1pPr>
          </a:lstStyle>
          <a:p>
            <a:r>
              <a:rPr lang="en-US"/>
              <a:t>Click to edit Master title style</a:t>
            </a:r>
          </a:p>
        </p:txBody>
      </p:sp>
    </p:spTree>
    <p:extLst>
      <p:ext uri="{BB962C8B-B14F-4D97-AF65-F5344CB8AC3E}">
        <p14:creationId xmlns:p14="http://schemas.microsoft.com/office/powerpoint/2010/main" val="75362387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439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77050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F261-1D5D-2A84-0988-239C3FD971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23EADC-B5DE-5648-1497-041A3F6A7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FD94C-7E4B-B9EC-19D6-D2429EED3C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87604E-7430-A0FE-7973-DA1018BBA4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BA7F01-EBD4-D315-46EA-42F986485B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C8E876-D378-E166-9DBF-2B22A05BCD58}"/>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8" name="Footer Placeholder 7">
            <a:extLst>
              <a:ext uri="{FF2B5EF4-FFF2-40B4-BE49-F238E27FC236}">
                <a16:creationId xmlns:a16="http://schemas.microsoft.com/office/drawing/2014/main" id="{9D1E9215-E8D7-832C-0447-0647D8F968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ABACFF-3018-6E31-9DA1-BE3B67052EF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515373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meline Dark">
    <p:bg>
      <p:bgPr>
        <a:solidFill>
          <a:schemeClr val="tx2">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p:spPr>
        <p:txBody>
          <a:bodyPr anchor="b">
            <a:normAutofit/>
          </a:bodyPr>
          <a:lstStyle>
            <a:lvl1pPr>
              <a:defRPr sz="5400">
                <a:solidFill>
                  <a:schemeClr val="bg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bg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accent1">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accent3">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accent2">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accent5">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accent6">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bg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735518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9196390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554986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screen">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699898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8637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996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0149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1764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5422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35127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04661-382E-0A0B-3101-0347E08C15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5B33D9-5667-E087-AEB4-D9230196D5DB}"/>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4" name="Footer Placeholder 3">
            <a:extLst>
              <a:ext uri="{FF2B5EF4-FFF2-40B4-BE49-F238E27FC236}">
                <a16:creationId xmlns:a16="http://schemas.microsoft.com/office/drawing/2014/main" id="{D16AC6E2-7A0D-C437-EF36-A235C9DE1C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989B2-F039-BC8B-4EEB-0CF1FA6BFB19}"/>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4748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54009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cstate="screen">
            <a:lum/>
            <a:extLst>
              <a:ext uri="{28A0092B-C50C-407E-A947-70E740481C1C}">
                <a14:useLocalDpi xmlns:a14="http://schemas.microsoft.com/office/drawing/2010/main"/>
              </a:ext>
            </a:extLst>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3010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8161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3140294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4586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685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4010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302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978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7347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583038-7054-A947-214A-C9565FF1E88C}"/>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3" name="Footer Placeholder 2">
            <a:extLst>
              <a:ext uri="{FF2B5EF4-FFF2-40B4-BE49-F238E27FC236}">
                <a16:creationId xmlns:a16="http://schemas.microsoft.com/office/drawing/2014/main" id="{8C8D1082-75D7-820C-DD8E-FB7765DD63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526DBA-F8CA-64CD-7079-5A4D8340E16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3717530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90258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4567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0893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3072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17773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2967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09071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99018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03404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0123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F999-485A-116D-7E97-C7AF9C3A5D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029832-3BBD-A2C6-6CFF-FE80FF63E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9DA7-8A59-7BB5-1184-151CE2BF07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93FC1-D97B-E08F-5DD5-6BD281E7CA13}"/>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6" name="Footer Placeholder 5">
            <a:extLst>
              <a:ext uri="{FF2B5EF4-FFF2-40B4-BE49-F238E27FC236}">
                <a16:creationId xmlns:a16="http://schemas.microsoft.com/office/drawing/2014/main" id="{4D08AD12-B900-4D86-7E82-DCEFFAFC7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07894-34AD-718D-145D-C6F196DD8203}"/>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8817123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627582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52544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55125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35456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28299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12044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24461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2476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31373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14952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A639-DA3E-373F-85FA-2C1DC4E1B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AB5BC4-C35B-F35E-15C4-EF3AAC63C7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D7A29B-3CF8-F038-30BB-AB55D412C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EF6D93-E08A-15FC-A48B-492A120B4E9B}"/>
              </a:ext>
            </a:extLst>
          </p:cNvPr>
          <p:cNvSpPr>
            <a:spLocks noGrp="1"/>
          </p:cNvSpPr>
          <p:nvPr>
            <p:ph type="dt" sz="half" idx="10"/>
          </p:nvPr>
        </p:nvSpPr>
        <p:spPr/>
        <p:txBody>
          <a:bodyPr/>
          <a:lstStyle/>
          <a:p>
            <a:fld id="{9DEE225E-C1FA-4504-B911-D6021D66CEB4}" type="datetimeFigureOut">
              <a:rPr lang="en-US" smtClean="0"/>
              <a:t>4/17/2025</a:t>
            </a:fld>
            <a:endParaRPr lang="en-US"/>
          </a:p>
        </p:txBody>
      </p:sp>
      <p:sp>
        <p:nvSpPr>
          <p:cNvPr id="6" name="Footer Placeholder 5">
            <a:extLst>
              <a:ext uri="{FF2B5EF4-FFF2-40B4-BE49-F238E27FC236}">
                <a16:creationId xmlns:a16="http://schemas.microsoft.com/office/drawing/2014/main" id="{6BC92987-2E5C-BF20-EDF2-B7563A05C3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4EFBA-88D2-EBB3-6AFA-A0416FA080D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8920532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4870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09457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07474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3637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90665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17272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070765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19171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704251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687788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7.xml"/><Relationship Id="rId7" Type="http://schemas.openxmlformats.org/officeDocument/2006/relationships/tags" Target="../tags/tag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2.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1.xml"/><Relationship Id="rId1"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74" Type="http://schemas.openxmlformats.org/officeDocument/2006/relationships/image" Target="../media/image2.png"/><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 Id="rId75" Type="http://schemas.openxmlformats.org/officeDocument/2006/relationships/image" Target="../media/image3.svg"/><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theme" Target="../theme/theme4.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 Type="http://schemas.openxmlformats.org/officeDocument/2006/relationships/slideLayout" Target="../slideLayouts/slideLayout58.xml"/><Relationship Id="rId71" Type="http://schemas.openxmlformats.org/officeDocument/2006/relationships/slideLayout" Target="../slideLayouts/slideLayout12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63" Type="http://schemas.openxmlformats.org/officeDocument/2006/relationships/slideLayout" Target="../slideLayouts/slideLayout186.xml"/><Relationship Id="rId68" Type="http://schemas.openxmlformats.org/officeDocument/2006/relationships/slideLayout" Target="../slideLayouts/slideLayout191.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9" Type="http://schemas.openxmlformats.org/officeDocument/2006/relationships/slideLayout" Target="../slideLayouts/slideLayout152.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66" Type="http://schemas.openxmlformats.org/officeDocument/2006/relationships/slideLayout" Target="../slideLayouts/slideLayout189.xml"/><Relationship Id="rId74" Type="http://schemas.openxmlformats.org/officeDocument/2006/relationships/image" Target="../media/image2.png"/><Relationship Id="rId5" Type="http://schemas.openxmlformats.org/officeDocument/2006/relationships/slideLayout" Target="../slideLayouts/slideLayout128.xml"/><Relationship Id="rId61" Type="http://schemas.openxmlformats.org/officeDocument/2006/relationships/slideLayout" Target="../slideLayouts/slideLayout184.xml"/><Relationship Id="rId19" Type="http://schemas.openxmlformats.org/officeDocument/2006/relationships/slideLayout" Target="../slideLayouts/slideLayout14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64" Type="http://schemas.openxmlformats.org/officeDocument/2006/relationships/slideLayout" Target="../slideLayouts/slideLayout187.xml"/><Relationship Id="rId69" Type="http://schemas.openxmlformats.org/officeDocument/2006/relationships/slideLayout" Target="../slideLayouts/slideLayout192.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72" Type="http://schemas.openxmlformats.org/officeDocument/2006/relationships/slideLayout" Target="../slideLayouts/slideLayout195.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 Id="rId67" Type="http://schemas.openxmlformats.org/officeDocument/2006/relationships/slideLayout" Target="../slideLayouts/slideLayout190.xml"/><Relationship Id="rId20" Type="http://schemas.openxmlformats.org/officeDocument/2006/relationships/slideLayout" Target="../slideLayouts/slideLayout143.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slideLayout" Target="../slideLayouts/slideLayout185.xml"/><Relationship Id="rId70" Type="http://schemas.openxmlformats.org/officeDocument/2006/relationships/slideLayout" Target="../slideLayouts/slideLayout193.xml"/><Relationship Id="rId75" Type="http://schemas.openxmlformats.org/officeDocument/2006/relationships/image" Target="../media/image3.sv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10" Type="http://schemas.openxmlformats.org/officeDocument/2006/relationships/slideLayout" Target="../slideLayouts/slideLayout133.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65" Type="http://schemas.openxmlformats.org/officeDocument/2006/relationships/slideLayout" Target="../slideLayouts/slideLayout188.xml"/><Relationship Id="rId73" Type="http://schemas.openxmlformats.org/officeDocument/2006/relationships/theme" Target="../theme/theme5.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9" Type="http://schemas.openxmlformats.org/officeDocument/2006/relationships/slideLayout" Target="../slideLayouts/slideLayout162.xml"/><Relationship Id="rId34" Type="http://schemas.openxmlformats.org/officeDocument/2006/relationships/slideLayout" Target="../slideLayouts/slideLayout157.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71" Type="http://schemas.openxmlformats.org/officeDocument/2006/relationships/slideLayout" Target="../slideLayouts/slideLayout19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63" Type="http://schemas.openxmlformats.org/officeDocument/2006/relationships/slideLayout" Target="../slideLayouts/slideLayout258.xml"/><Relationship Id="rId68" Type="http://schemas.openxmlformats.org/officeDocument/2006/relationships/slideLayout" Target="../slideLayouts/slideLayout263.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slideLayout" Target="../slideLayouts/slideLayout261.xml"/><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slideLayout" Target="../slideLayouts/slideLayout259.xml"/><Relationship Id="rId69" Type="http://schemas.openxmlformats.org/officeDocument/2006/relationships/slideLayout" Target="../slideLayouts/slideLayout264.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72" Type="http://schemas.openxmlformats.org/officeDocument/2006/relationships/slideLayout" Target="../slideLayouts/slideLayout267.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67" Type="http://schemas.openxmlformats.org/officeDocument/2006/relationships/slideLayout" Target="../slideLayouts/slideLayout262.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70" Type="http://schemas.openxmlformats.org/officeDocument/2006/relationships/slideLayout" Target="../slideLayouts/slideLayout26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slideLayout" Target="../slideLayouts/slideLayout260.xml"/><Relationship Id="rId73" Type="http://schemas.openxmlformats.org/officeDocument/2006/relationships/theme" Target="../theme/theme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 Id="rId34" Type="http://schemas.openxmlformats.org/officeDocument/2006/relationships/slideLayout" Target="../slideLayouts/slideLayout229.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 Type="http://schemas.openxmlformats.org/officeDocument/2006/relationships/slideLayout" Target="../slideLayouts/slideLayout202.xml"/><Relationship Id="rId71" Type="http://schemas.openxmlformats.org/officeDocument/2006/relationships/slideLayout" Target="../slideLayouts/slideLayout26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theme" Target="../theme/theme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8" Type="http://schemas.openxmlformats.org/officeDocument/2006/relationships/slideLayout" Target="../slideLayouts/slideLayout275.xml"/><Relationship Id="rId3" Type="http://schemas.openxmlformats.org/officeDocument/2006/relationships/slideLayout" Target="../slideLayouts/slideLayout27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9" Type="http://schemas.openxmlformats.org/officeDocument/2006/relationships/slideLayout" Target="../slideLayouts/slideLayout342.xml"/><Relationship Id="rId21" Type="http://schemas.openxmlformats.org/officeDocument/2006/relationships/slideLayout" Target="../slideLayouts/slideLayout324.xml"/><Relationship Id="rId34" Type="http://schemas.openxmlformats.org/officeDocument/2006/relationships/slideLayout" Target="../slideLayouts/slideLayout337.xml"/><Relationship Id="rId42" Type="http://schemas.openxmlformats.org/officeDocument/2006/relationships/slideLayout" Target="../slideLayouts/slideLayout345.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41" Type="http://schemas.openxmlformats.org/officeDocument/2006/relationships/slideLayout" Target="../slideLayouts/slideLayout344.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slideLayout" Target="../slideLayouts/slideLayout335.xml"/><Relationship Id="rId37" Type="http://schemas.openxmlformats.org/officeDocument/2006/relationships/slideLayout" Target="../slideLayouts/slideLayout340.xml"/><Relationship Id="rId40" Type="http://schemas.openxmlformats.org/officeDocument/2006/relationships/slideLayout" Target="../slideLayouts/slideLayout343.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36" Type="http://schemas.openxmlformats.org/officeDocument/2006/relationships/slideLayout" Target="../slideLayouts/slideLayout339.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slideLayout" Target="../slideLayouts/slideLayout334.xml"/><Relationship Id="rId44" Type="http://schemas.openxmlformats.org/officeDocument/2006/relationships/theme" Target="../theme/theme8.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slideLayout" Target="../slideLayouts/slideLayout338.xml"/><Relationship Id="rId43" Type="http://schemas.openxmlformats.org/officeDocument/2006/relationships/slideLayout" Target="../slideLayouts/slideLayout346.xml"/><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slideLayout" Target="../slideLayouts/slideLayout336.xml"/><Relationship Id="rId38" Type="http://schemas.openxmlformats.org/officeDocument/2006/relationships/slideLayout" Target="../slideLayouts/slideLayout3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89B592-B748-3A9C-54E3-CD9CA1A491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1CDDB7-EEAE-B391-958B-21BC1E983F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C8EB2-810F-95E5-EB57-24E0F7EBB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EE225E-C1FA-4504-B911-D6021D66CEB4}" type="datetimeFigureOut">
              <a:rPr lang="en-US" smtClean="0"/>
              <a:t>4/17/2025</a:t>
            </a:fld>
            <a:endParaRPr lang="en-US"/>
          </a:p>
        </p:txBody>
      </p:sp>
      <p:sp>
        <p:nvSpPr>
          <p:cNvPr id="5" name="Footer Placeholder 4">
            <a:extLst>
              <a:ext uri="{FF2B5EF4-FFF2-40B4-BE49-F238E27FC236}">
                <a16:creationId xmlns:a16="http://schemas.microsoft.com/office/drawing/2014/main" id="{72F60B39-4F59-6743-5458-9A2DBB3300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C7D712D-48E9-7799-F1E2-261E1C7D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03F747-6B24-4715-807A-E52F8025588D}" type="slidenum">
              <a:rPr lang="en-US" smtClean="0"/>
              <a:t>‹#›</a:t>
            </a:fld>
            <a:endParaRPr lang="en-US"/>
          </a:p>
        </p:txBody>
      </p:sp>
    </p:spTree>
    <p:extLst>
      <p:ext uri="{BB962C8B-B14F-4D97-AF65-F5344CB8AC3E}">
        <p14:creationId xmlns:p14="http://schemas.microsoft.com/office/powerpoint/2010/main" val="6140979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7"/>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75621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5B3CF9-F6C1-EAC2-6ED5-F21274EDAC42}"/>
              </a:ext>
            </a:extLst>
          </p:cNvPr>
          <p:cNvSpPr>
            <a:spLocks noGrp="1"/>
          </p:cNvSpPr>
          <p:nvPr>
            <p:ph type="title"/>
          </p:nvPr>
        </p:nvSpPr>
        <p:spPr>
          <a:xfrm>
            <a:off x="594804" y="365125"/>
            <a:ext cx="1088701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484AFB-9D3B-E902-0E64-B953D0E5C9E9}"/>
              </a:ext>
            </a:extLst>
          </p:cNvPr>
          <p:cNvSpPr>
            <a:spLocks noGrp="1"/>
          </p:cNvSpPr>
          <p:nvPr>
            <p:ph type="body" idx="1"/>
          </p:nvPr>
        </p:nvSpPr>
        <p:spPr>
          <a:xfrm>
            <a:off x="594804" y="1825625"/>
            <a:ext cx="10887012" cy="4113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54D8918F-6808-DDE5-4A7C-495DAC248971}"/>
              </a:ext>
            </a:extLst>
          </p:cNvPr>
          <p:cNvSpPr>
            <a:spLocks noGrp="1"/>
          </p:cNvSpPr>
          <p:nvPr>
            <p:ph type="ftr" sz="quarter" idx="3"/>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10" name="Slide Number Placeholder 5">
            <a:extLst>
              <a:ext uri="{FF2B5EF4-FFF2-40B4-BE49-F238E27FC236}">
                <a16:creationId xmlns:a16="http://schemas.microsoft.com/office/drawing/2014/main" id="{A2BAE7F7-F858-A80B-8F72-EFA0C33C1006}"/>
              </a:ext>
            </a:extLst>
          </p:cNvPr>
          <p:cNvSpPr>
            <a:spLocks noGrp="1"/>
          </p:cNvSpPr>
          <p:nvPr>
            <p:ph type="sldNum" sz="quarter" idx="4"/>
          </p:nvPr>
        </p:nvSpPr>
        <p:spPr>
          <a:xfrm>
            <a:off x="8738616" y="6072886"/>
            <a:ext cx="2743200" cy="365125"/>
          </a:xfrm>
          <a:prstGeom prst="rect">
            <a:avLst/>
          </a:prstGeom>
        </p:spPr>
        <p:txBody>
          <a:bodyPr/>
          <a:lstStyle>
            <a:lvl1pPr algn="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751665525"/>
      </p:ext>
    </p:extLst>
  </p:cSld>
  <p:clrMap bg1="lt1" tx1="dk1" bg2="lt2" tx2="dk2" accent1="accent1" accent2="accent2" accent3="accent3" accent4="accent4" accent5="accent5" accent6="accent6" hlink="hlink" folHlink="folHlink"/>
  <p:sldLayoutIdLst>
    <p:sldLayoutId id="2147483712" r:id="rId1"/>
    <p:sldLayoutId id="21474837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853790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772" r:id="rId58"/>
    <p:sldLayoutId id="2147483773" r:id="rId59"/>
    <p:sldLayoutId id="2147483774" r:id="rId60"/>
    <p:sldLayoutId id="2147483775" r:id="rId61"/>
    <p:sldLayoutId id="2147483776" r:id="rId62"/>
    <p:sldLayoutId id="2147483777" r:id="rId63"/>
    <p:sldLayoutId id="2147483778" r:id="rId64"/>
    <p:sldLayoutId id="2147483779" r:id="rId65"/>
    <p:sldLayoutId id="2147483780" r:id="rId66"/>
    <p:sldLayoutId id="2147483781" r:id="rId67"/>
    <p:sldLayoutId id="2147483782" r:id="rId68"/>
    <p:sldLayoutId id="2147483783" r:id="rId69"/>
    <p:sldLayoutId id="2147483784" r:id="rId70"/>
    <p:sldLayoutId id="2147483785" r:id="rId71"/>
    <p:sldLayoutId id="2147483786"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5886996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836" r:id="rId49"/>
    <p:sldLayoutId id="2147483837" r:id="rId50"/>
    <p:sldLayoutId id="2147483838" r:id="rId51"/>
    <p:sldLayoutId id="2147483839" r:id="rId52"/>
    <p:sldLayoutId id="2147483840" r:id="rId53"/>
    <p:sldLayoutId id="2147483841" r:id="rId54"/>
    <p:sldLayoutId id="2147483842" r:id="rId55"/>
    <p:sldLayoutId id="2147483843" r:id="rId56"/>
    <p:sldLayoutId id="2147483844" r:id="rId57"/>
    <p:sldLayoutId id="2147483845" r:id="rId58"/>
    <p:sldLayoutId id="2147483846" r:id="rId59"/>
    <p:sldLayoutId id="2147483847" r:id="rId60"/>
    <p:sldLayoutId id="2147483848" r:id="rId61"/>
    <p:sldLayoutId id="2147483849" r:id="rId62"/>
    <p:sldLayoutId id="2147483850" r:id="rId63"/>
    <p:sldLayoutId id="2147483851" r:id="rId64"/>
    <p:sldLayoutId id="2147483852" r:id="rId65"/>
    <p:sldLayoutId id="2147483853" r:id="rId66"/>
    <p:sldLayoutId id="2147483854" r:id="rId67"/>
    <p:sldLayoutId id="2147483855" r:id="rId68"/>
    <p:sldLayoutId id="2147483856" r:id="rId69"/>
    <p:sldLayoutId id="2147483857" r:id="rId70"/>
    <p:sldLayoutId id="2147483858" r:id="rId71"/>
    <p:sldLayoutId id="2147483859" r:id="rId7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53600121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 id="2147483893" r:id="rId33"/>
    <p:sldLayoutId id="2147483894" r:id="rId34"/>
    <p:sldLayoutId id="2147483895" r:id="rId35"/>
    <p:sldLayoutId id="2147483896" r:id="rId36"/>
    <p:sldLayoutId id="2147483897" r:id="rId37"/>
    <p:sldLayoutId id="2147483898" r:id="rId38"/>
    <p:sldLayoutId id="2147483899" r:id="rId39"/>
    <p:sldLayoutId id="2147483900" r:id="rId40"/>
    <p:sldLayoutId id="2147483901" r:id="rId41"/>
    <p:sldLayoutId id="2147483902" r:id="rId42"/>
    <p:sldLayoutId id="2147483903" r:id="rId43"/>
    <p:sldLayoutId id="2147483904" r:id="rId44"/>
    <p:sldLayoutId id="2147483905" r:id="rId45"/>
    <p:sldLayoutId id="2147483906" r:id="rId46"/>
    <p:sldLayoutId id="2147483907" r:id="rId47"/>
    <p:sldLayoutId id="2147483908" r:id="rId48"/>
    <p:sldLayoutId id="2147483909" r:id="rId49"/>
    <p:sldLayoutId id="2147483910" r:id="rId50"/>
    <p:sldLayoutId id="2147483911" r:id="rId51"/>
    <p:sldLayoutId id="2147483912" r:id="rId52"/>
    <p:sldLayoutId id="2147483913" r:id="rId53"/>
    <p:sldLayoutId id="2147483914" r:id="rId54"/>
    <p:sldLayoutId id="2147483915" r:id="rId55"/>
    <p:sldLayoutId id="2147483916" r:id="rId56"/>
    <p:sldLayoutId id="2147483917" r:id="rId57"/>
    <p:sldLayoutId id="2147483918" r:id="rId58"/>
    <p:sldLayoutId id="2147483919" r:id="rId59"/>
    <p:sldLayoutId id="2147483920" r:id="rId60"/>
    <p:sldLayoutId id="2147483921" r:id="rId61"/>
    <p:sldLayoutId id="2147483922" r:id="rId62"/>
    <p:sldLayoutId id="2147483923" r:id="rId63"/>
    <p:sldLayoutId id="2147483924" r:id="rId64"/>
    <p:sldLayoutId id="2147483925" r:id="rId65"/>
    <p:sldLayoutId id="2147483926" r:id="rId66"/>
    <p:sldLayoutId id="2147483927" r:id="rId67"/>
    <p:sldLayoutId id="2147483928" r:id="rId68"/>
    <p:sldLayoutId id="2147483929" r:id="rId69"/>
    <p:sldLayoutId id="2147483930" r:id="rId70"/>
    <p:sldLayoutId id="2147483931" r:id="rId71"/>
    <p:sldLayoutId id="2147483932"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440705"/>
      </p:ext>
    </p:extLst>
  </p:cSld>
  <p:clrMap bg1="dk1" tx1="lt1" bg2="dk2" tx2="lt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 id="2147483968" r:id="rId35"/>
    <p:sldLayoutId id="214748396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7361519"/>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3" r:id="rId43"/>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2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5.xml"/></Relationships>
</file>

<file path=ppt/slides/_rels/slide14.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sv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92.png"/><Relationship Id="rId2" Type="http://schemas.openxmlformats.org/officeDocument/2006/relationships/notesSlide" Target="../notesSlides/notesSlide11.xml"/><Relationship Id="rId16" Type="http://schemas.openxmlformats.org/officeDocument/2006/relationships/image" Target="../media/image120.svg"/><Relationship Id="rId1" Type="http://schemas.openxmlformats.org/officeDocument/2006/relationships/slideLayout" Target="../slideLayouts/slideLayout114.xml"/><Relationship Id="rId6" Type="http://schemas.openxmlformats.org/officeDocument/2006/relationships/image" Target="../media/image110.svg"/><Relationship Id="rId11" Type="http://schemas.openxmlformats.org/officeDocument/2006/relationships/image" Target="../media/image115.sv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svg"/><Relationship Id="rId14" Type="http://schemas.openxmlformats.org/officeDocument/2006/relationships/image" Target="../media/image11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7.xml"/></Relationships>
</file>

<file path=ppt/slides/_rels/slide1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3.xml"/><Relationship Id="rId1" Type="http://schemas.openxmlformats.org/officeDocument/2006/relationships/slideLayout" Target="../slideLayouts/slideLayout147.xml"/><Relationship Id="rId4" Type="http://schemas.openxmlformats.org/officeDocument/2006/relationships/image" Target="../media/image122.svg"/></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notesSlide" Target="../notesSlides/notesSlide14.xml"/><Relationship Id="rId1" Type="http://schemas.openxmlformats.org/officeDocument/2006/relationships/slideLayout" Target="../slideLayouts/slideLayout145.xml"/></Relationships>
</file>

<file path=ppt/slides/_rels/slide18.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3.emf"/><Relationship Id="rId7" Type="http://schemas.openxmlformats.org/officeDocument/2006/relationships/image" Target="../media/image126.svg"/><Relationship Id="rId2" Type="http://schemas.openxmlformats.org/officeDocument/2006/relationships/notesSlide" Target="../notesSlides/notesSlide15.xml"/><Relationship Id="rId1" Type="http://schemas.openxmlformats.org/officeDocument/2006/relationships/slideLayout" Target="../slideLayouts/slideLayout145.xml"/><Relationship Id="rId6" Type="http://schemas.openxmlformats.org/officeDocument/2006/relationships/image" Target="../media/image107.png"/><Relationship Id="rId5" Type="http://schemas.openxmlformats.org/officeDocument/2006/relationships/image" Target="../media/image125.emf"/><Relationship Id="rId4" Type="http://schemas.openxmlformats.org/officeDocument/2006/relationships/image" Target="../media/image124.png"/><Relationship Id="rId9" Type="http://schemas.openxmlformats.org/officeDocument/2006/relationships/image" Target="../media/image128.svg"/></Relationships>
</file>

<file path=ppt/slides/_rels/slide19.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8.png"/><Relationship Id="rId3" Type="http://schemas.openxmlformats.org/officeDocument/2006/relationships/image" Target="../media/image129.png"/><Relationship Id="rId21" Type="http://schemas.openxmlformats.org/officeDocument/2006/relationships/image" Target="../media/image143.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1.png"/><Relationship Id="rId25" Type="http://schemas.openxmlformats.org/officeDocument/2006/relationships/image" Target="../media/image147.svg"/><Relationship Id="rId2" Type="http://schemas.openxmlformats.org/officeDocument/2006/relationships/notesSlide" Target="../notesSlides/notesSlide16.xml"/><Relationship Id="rId16" Type="http://schemas.openxmlformats.org/officeDocument/2006/relationships/image" Target="../media/image140.svg"/><Relationship Id="rId20" Type="http://schemas.openxmlformats.org/officeDocument/2006/relationships/image" Target="../media/image142.png"/><Relationship Id="rId29" Type="http://schemas.openxmlformats.org/officeDocument/2006/relationships/image" Target="../media/image151.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6.png"/><Relationship Id="rId5" Type="http://schemas.openxmlformats.org/officeDocument/2006/relationships/image" Target="../media/image131.png"/><Relationship Id="rId15" Type="http://schemas.openxmlformats.org/officeDocument/2006/relationships/image" Target="../media/image139.png"/><Relationship Id="rId23" Type="http://schemas.openxmlformats.org/officeDocument/2006/relationships/image" Target="../media/image145.svg"/><Relationship Id="rId28" Type="http://schemas.openxmlformats.org/officeDocument/2006/relationships/image" Target="../media/image150.png"/><Relationship Id="rId10" Type="http://schemas.openxmlformats.org/officeDocument/2006/relationships/image" Target="../media/image136.svg"/><Relationship Id="rId19" Type="http://schemas.openxmlformats.org/officeDocument/2006/relationships/image" Target="../media/image128.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4.png"/><Relationship Id="rId27" Type="http://schemas.openxmlformats.org/officeDocument/2006/relationships/image" Target="../media/image149.svg"/></Relationships>
</file>

<file path=ppt/slides/_rels/slide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 Id="rId4" Type="http://schemas.openxmlformats.org/officeDocument/2006/relationships/hyperlink" Target="https://github.com/microsoft/microhacks-rag-ai"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0.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2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1.xml"/><Relationship Id="rId1" Type="http://schemas.openxmlformats.org/officeDocument/2006/relationships/slideLayout" Target="../slideLayouts/slideLayout48.xml"/><Relationship Id="rId5" Type="http://schemas.openxmlformats.org/officeDocument/2006/relationships/image" Target="../media/image93.png"/><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2.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1.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8.png"/><Relationship Id="rId3" Type="http://schemas.openxmlformats.org/officeDocument/2006/relationships/image" Target="../media/image129.png"/><Relationship Id="rId21" Type="http://schemas.openxmlformats.org/officeDocument/2006/relationships/image" Target="../media/image143.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1.png"/><Relationship Id="rId25" Type="http://schemas.openxmlformats.org/officeDocument/2006/relationships/image" Target="../media/image147.svg"/><Relationship Id="rId2" Type="http://schemas.openxmlformats.org/officeDocument/2006/relationships/notesSlide" Target="../notesSlides/notesSlide24.xml"/><Relationship Id="rId16" Type="http://schemas.openxmlformats.org/officeDocument/2006/relationships/image" Target="../media/image140.svg"/><Relationship Id="rId20" Type="http://schemas.openxmlformats.org/officeDocument/2006/relationships/image" Target="../media/image142.png"/><Relationship Id="rId29" Type="http://schemas.openxmlformats.org/officeDocument/2006/relationships/image" Target="../media/image151.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6.png"/><Relationship Id="rId5" Type="http://schemas.openxmlformats.org/officeDocument/2006/relationships/image" Target="../media/image131.png"/><Relationship Id="rId15" Type="http://schemas.openxmlformats.org/officeDocument/2006/relationships/image" Target="../media/image139.png"/><Relationship Id="rId23" Type="http://schemas.openxmlformats.org/officeDocument/2006/relationships/image" Target="../media/image145.svg"/><Relationship Id="rId28" Type="http://schemas.openxmlformats.org/officeDocument/2006/relationships/image" Target="../media/image150.png"/><Relationship Id="rId10" Type="http://schemas.openxmlformats.org/officeDocument/2006/relationships/image" Target="../media/image136.svg"/><Relationship Id="rId19" Type="http://schemas.openxmlformats.org/officeDocument/2006/relationships/image" Target="../media/image128.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4.png"/><Relationship Id="rId27" Type="http://schemas.openxmlformats.org/officeDocument/2006/relationships/image" Target="../media/image149.svg"/></Relationships>
</file>

<file path=ppt/slides/_rels/slide32.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8.png"/><Relationship Id="rId3" Type="http://schemas.openxmlformats.org/officeDocument/2006/relationships/image" Target="../media/image129.png"/><Relationship Id="rId21" Type="http://schemas.openxmlformats.org/officeDocument/2006/relationships/image" Target="../media/image143.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1.png"/><Relationship Id="rId25" Type="http://schemas.openxmlformats.org/officeDocument/2006/relationships/image" Target="../media/image147.svg"/><Relationship Id="rId2" Type="http://schemas.openxmlformats.org/officeDocument/2006/relationships/notesSlide" Target="../notesSlides/notesSlide25.xml"/><Relationship Id="rId16" Type="http://schemas.openxmlformats.org/officeDocument/2006/relationships/image" Target="../media/image140.svg"/><Relationship Id="rId20" Type="http://schemas.openxmlformats.org/officeDocument/2006/relationships/image" Target="../media/image142.png"/><Relationship Id="rId29" Type="http://schemas.openxmlformats.org/officeDocument/2006/relationships/image" Target="../media/image151.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6.png"/><Relationship Id="rId5" Type="http://schemas.openxmlformats.org/officeDocument/2006/relationships/image" Target="../media/image131.png"/><Relationship Id="rId15" Type="http://schemas.openxmlformats.org/officeDocument/2006/relationships/image" Target="../media/image139.png"/><Relationship Id="rId23" Type="http://schemas.openxmlformats.org/officeDocument/2006/relationships/image" Target="../media/image145.svg"/><Relationship Id="rId28" Type="http://schemas.openxmlformats.org/officeDocument/2006/relationships/image" Target="../media/image150.png"/><Relationship Id="rId10" Type="http://schemas.openxmlformats.org/officeDocument/2006/relationships/image" Target="../media/image136.svg"/><Relationship Id="rId19" Type="http://schemas.openxmlformats.org/officeDocument/2006/relationships/image" Target="../media/image128.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4.png"/><Relationship Id="rId27" Type="http://schemas.openxmlformats.org/officeDocument/2006/relationships/image" Target="../media/image149.svg"/></Relationships>
</file>

<file path=ppt/slides/_rels/slide33.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8.png"/><Relationship Id="rId3" Type="http://schemas.openxmlformats.org/officeDocument/2006/relationships/image" Target="../media/image129.png"/><Relationship Id="rId21" Type="http://schemas.openxmlformats.org/officeDocument/2006/relationships/image" Target="../media/image143.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1.png"/><Relationship Id="rId25" Type="http://schemas.openxmlformats.org/officeDocument/2006/relationships/image" Target="../media/image147.svg"/><Relationship Id="rId2" Type="http://schemas.openxmlformats.org/officeDocument/2006/relationships/notesSlide" Target="../notesSlides/notesSlide26.xml"/><Relationship Id="rId16" Type="http://schemas.openxmlformats.org/officeDocument/2006/relationships/image" Target="../media/image140.svg"/><Relationship Id="rId20" Type="http://schemas.openxmlformats.org/officeDocument/2006/relationships/image" Target="../media/image142.png"/><Relationship Id="rId29" Type="http://schemas.openxmlformats.org/officeDocument/2006/relationships/image" Target="../media/image151.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6.png"/><Relationship Id="rId5" Type="http://schemas.openxmlformats.org/officeDocument/2006/relationships/image" Target="../media/image131.png"/><Relationship Id="rId15" Type="http://schemas.openxmlformats.org/officeDocument/2006/relationships/image" Target="../media/image139.png"/><Relationship Id="rId23" Type="http://schemas.openxmlformats.org/officeDocument/2006/relationships/image" Target="../media/image145.svg"/><Relationship Id="rId28" Type="http://schemas.openxmlformats.org/officeDocument/2006/relationships/image" Target="../media/image150.png"/><Relationship Id="rId10" Type="http://schemas.openxmlformats.org/officeDocument/2006/relationships/image" Target="../media/image136.svg"/><Relationship Id="rId19" Type="http://schemas.openxmlformats.org/officeDocument/2006/relationships/image" Target="../media/image128.svg"/><Relationship Id="rId31" Type="http://schemas.openxmlformats.org/officeDocument/2006/relationships/image" Target="../media/image153.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4.png"/><Relationship Id="rId27" Type="http://schemas.openxmlformats.org/officeDocument/2006/relationships/image" Target="../media/image149.svg"/><Relationship Id="rId30" Type="http://schemas.openxmlformats.org/officeDocument/2006/relationships/image" Target="../media/image152.png"/></Relationships>
</file>

<file path=ppt/slides/_rels/slide4.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5.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3" Type="http://schemas.openxmlformats.org/officeDocument/2006/relationships/image" Target="../media/image97.png"/><Relationship Id="rId7" Type="http://schemas.openxmlformats.org/officeDocument/2006/relationships/image" Target="../media/image94.png"/><Relationship Id="rId12" Type="http://schemas.openxmlformats.org/officeDocument/2006/relationships/image" Target="../media/image105.png"/><Relationship Id="rId2" Type="http://schemas.openxmlformats.org/officeDocument/2006/relationships/notesSlide" Target="../notesSlides/notesSlide6.xml"/><Relationship Id="rId1" Type="http://schemas.openxmlformats.org/officeDocument/2006/relationships/slideLayout" Target="../slideLayouts/slideLayout50.xml"/><Relationship Id="rId6" Type="http://schemas.openxmlformats.org/officeDocument/2006/relationships/image" Target="../media/image100.svg"/><Relationship Id="rId11" Type="http://schemas.openxmlformats.org/officeDocument/2006/relationships/image" Target="../media/image104.svg"/><Relationship Id="rId5" Type="http://schemas.openxmlformats.org/officeDocument/2006/relationships/image" Target="../media/image99.png"/><Relationship Id="rId10" Type="http://schemas.openxmlformats.org/officeDocument/2006/relationships/image" Target="../media/image103.png"/><Relationship Id="rId4" Type="http://schemas.openxmlformats.org/officeDocument/2006/relationships/image" Target="../media/image98.svg"/><Relationship Id="rId9" Type="http://schemas.openxmlformats.org/officeDocument/2006/relationships/image" Target="../media/image10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330-C30D-1E19-84E7-102B623FFAA8}"/>
              </a:ext>
            </a:extLst>
          </p:cNvPr>
          <p:cNvSpPr>
            <a:spLocks noGrp="1"/>
          </p:cNvSpPr>
          <p:nvPr>
            <p:ph type="ctrTitle"/>
          </p:nvPr>
        </p:nvSpPr>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3" name="Subtitle 2">
            <a:extLst>
              <a:ext uri="{FF2B5EF4-FFF2-40B4-BE49-F238E27FC236}">
                <a16:creationId xmlns:a16="http://schemas.microsoft.com/office/drawing/2014/main" id="{762C0C59-2648-5376-88C0-273337933B64}"/>
              </a:ext>
            </a:extLst>
          </p:cNvPr>
          <p:cNvSpPr>
            <a:spLocks noGrp="1"/>
          </p:cNvSpPr>
          <p:nvPr>
            <p:ph type="subTitle" idx="1"/>
          </p:nvPr>
        </p:nvSpPr>
        <p:spPr/>
        <p:txBody>
          <a:bodyPr/>
          <a:lstStyle/>
          <a:p>
            <a:r>
              <a:rPr kumimoji="0" lang="en-US" sz="2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solidFill>
                <a:schemeClr val="bg1"/>
              </a:solidFill>
              <a:latin typeface="Segoe UI Semibold" panose="020B0702040204020203" pitchFamily="34" charset="0"/>
              <a:cs typeface="Segoe UI Semibold" panose="020B0702040204020203" pitchFamily="34" charset="0"/>
            </a:endParaRPr>
          </a:p>
        </p:txBody>
      </p:sp>
      <p:pic>
        <p:nvPicPr>
          <p:cNvPr id="4" name="Picture 3">
            <a:extLst>
              <a:ext uri="{FF2B5EF4-FFF2-40B4-BE49-F238E27FC236}">
                <a16:creationId xmlns:a16="http://schemas.microsoft.com/office/drawing/2014/main" id="{5BD0C505-A37A-1E42-4C1D-D2DB4778AD4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5" name="Picture 4">
            <a:extLst>
              <a:ext uri="{FF2B5EF4-FFF2-40B4-BE49-F238E27FC236}">
                <a16:creationId xmlns:a16="http://schemas.microsoft.com/office/drawing/2014/main" id="{3F0976CE-C0D6-1C90-4613-237711182E3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6" name="TextBox 5">
            <a:extLst>
              <a:ext uri="{FF2B5EF4-FFF2-40B4-BE49-F238E27FC236}">
                <a16:creationId xmlns:a16="http://schemas.microsoft.com/office/drawing/2014/main" id="{1E8BF2A8-9065-5E1F-3C7E-AFC9559B7619}"/>
              </a:ext>
            </a:extLst>
          </p:cNvPr>
          <p:cNvSpPr txBox="1"/>
          <p:nvPr/>
        </p:nvSpPr>
        <p:spPr>
          <a:xfrm>
            <a:off x="8859752" y="6058677"/>
            <a:ext cx="286565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resented by</a:t>
            </a: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mericas Office of the CTO</a:t>
            </a:r>
          </a:p>
        </p:txBody>
      </p:sp>
      <p:pic>
        <p:nvPicPr>
          <p:cNvPr id="8" name="Picture 7" descr="A logo with a globe and text&#10;&#10;Description automatically generated">
            <a:extLst>
              <a:ext uri="{FF2B5EF4-FFF2-40B4-BE49-F238E27FC236}">
                <a16:creationId xmlns:a16="http://schemas.microsoft.com/office/drawing/2014/main" id="{6EDE46AA-9FA5-06A1-BDDA-9816260A7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02" y="806235"/>
            <a:ext cx="1391997" cy="1338330"/>
          </a:xfrm>
          <a:prstGeom prst="rect">
            <a:avLst/>
          </a:prstGeom>
        </p:spPr>
      </p:pic>
    </p:spTree>
    <p:extLst>
      <p:ext uri="{BB962C8B-B14F-4D97-AF65-F5344CB8AC3E}">
        <p14:creationId xmlns:p14="http://schemas.microsoft.com/office/powerpoint/2010/main" val="2903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95A50BA5-4EF7-9B12-43C7-529D487A374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44B7464-C6A3-D909-AC90-779B05F7DADE}"/>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97FAB5A-C660-6832-4C91-6165E2BCEF06}"/>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6F558477-01FE-B550-48EE-64A0A3A9D38D}"/>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27" name="Text Placeholder 2">
            <a:extLst>
              <a:ext uri="{FF2B5EF4-FFF2-40B4-BE49-F238E27FC236}">
                <a16:creationId xmlns:a16="http://schemas.microsoft.com/office/drawing/2014/main" id="{4B44BB45-178E-26EA-B53B-7BDFE61FB42E}"/>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o you will be working with:</a:t>
            </a:r>
            <a:endParaRPr lang="en-US"/>
          </a:p>
        </p:txBody>
      </p:sp>
      <p:sp>
        <p:nvSpPr>
          <p:cNvPr id="28" name="TextBox 27">
            <a:extLst>
              <a:ext uri="{FF2B5EF4-FFF2-40B4-BE49-F238E27FC236}">
                <a16:creationId xmlns:a16="http://schemas.microsoft.com/office/drawing/2014/main" id="{6561AF4F-ABE5-F53C-8CA6-1DCB9D2F9F00}"/>
              </a:ext>
            </a:extLst>
          </p:cNvPr>
          <p:cNvSpPr txBox="1"/>
          <p:nvPr/>
        </p:nvSpPr>
        <p:spPr>
          <a:xfrm>
            <a:off x="1051250" y="1855851"/>
            <a:ext cx="4379166" cy="4001095"/>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a:solidFill>
                  <a:schemeClr val="bg1"/>
                </a:solidFill>
              </a:rPr>
              <a:t>Join your assigned team of 3-7 participants</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Join your Teams Break-Out channel</a:t>
            </a:r>
          </a:p>
          <a:p>
            <a:pPr marL="342900" indent="-342900">
              <a:buFont typeface="Arial" panose="020B0604020202020204" pitchFamily="34" charset="0"/>
              <a:buChar char="•"/>
            </a:pPr>
            <a:endParaRPr lang="en-US" sz="2000">
              <a:solidFill>
                <a:schemeClr val="bg1"/>
              </a:solidFill>
            </a:endParaRPr>
          </a:p>
          <a:p>
            <a:pPr marL="342900" indent="-342900">
              <a:buFont typeface="Arial" panose="020B0604020202020204" pitchFamily="34" charset="0"/>
              <a:buChar char="•"/>
            </a:pPr>
            <a:r>
              <a:rPr lang="en-US" sz="2000">
                <a:solidFill>
                  <a:schemeClr val="bg1"/>
                </a:solidFill>
              </a:rPr>
              <a:t>Coaches available to help</a:t>
            </a:r>
          </a:p>
          <a:p>
            <a:pPr marL="342900" indent="-342900">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Main channel will display schedule and remain open for coach requests.</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Share Challenge completion updates in Main Teams channel</a:t>
            </a:r>
          </a:p>
        </p:txBody>
      </p:sp>
      <p:sp>
        <p:nvSpPr>
          <p:cNvPr id="29" name="Text Placeholder 2">
            <a:extLst>
              <a:ext uri="{FF2B5EF4-FFF2-40B4-BE49-F238E27FC236}">
                <a16:creationId xmlns:a16="http://schemas.microsoft.com/office/drawing/2014/main" id="{612774B2-39A6-23F1-FC39-936FAC4900D6}"/>
              </a:ext>
            </a:extLst>
          </p:cNvPr>
          <p:cNvSpPr txBox="1">
            <a:spLocks/>
          </p:cNvSpPr>
          <p:nvPr/>
        </p:nvSpPr>
        <p:spPr>
          <a:xfrm>
            <a:off x="5762641" y="1344676"/>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at you will be working on:</a:t>
            </a:r>
            <a:endParaRPr lang="en-US"/>
          </a:p>
        </p:txBody>
      </p:sp>
      <p:sp>
        <p:nvSpPr>
          <p:cNvPr id="30" name="TextBox 29">
            <a:extLst>
              <a:ext uri="{FF2B5EF4-FFF2-40B4-BE49-F238E27FC236}">
                <a16:creationId xmlns:a16="http://schemas.microsoft.com/office/drawing/2014/main" id="{04A54B2A-1404-F0BF-3ECB-3591D7DE84E6}"/>
              </a:ext>
            </a:extLst>
          </p:cNvPr>
          <p:cNvSpPr txBox="1"/>
          <p:nvPr/>
        </p:nvSpPr>
        <p:spPr>
          <a:xfrm>
            <a:off x="6195145" y="1855851"/>
            <a:ext cx="5088682" cy="4616648"/>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a:solidFill>
                  <a:schemeClr val="bg1"/>
                </a:solidFill>
              </a:rPr>
              <a:t>Microsoft Teams – use to collaborate with your Microhack team</a:t>
            </a:r>
          </a:p>
          <a:p>
            <a:pPr marL="342900" indent="-342900">
              <a:buFont typeface="Arial" panose="020B0604020202020204" pitchFamily="34" charset="0"/>
              <a:buChar char="•"/>
            </a:pPr>
            <a:endParaRPr lang="en-US" sz="2000">
              <a:solidFill>
                <a:schemeClr val="bg1"/>
              </a:solidFill>
            </a:endParaRPr>
          </a:p>
          <a:p>
            <a:pPr marL="342900" indent="-342900">
              <a:buFont typeface="Arial" panose="020B0604020202020204" pitchFamily="34" charset="0"/>
              <a:buChar char="•"/>
            </a:pPr>
            <a:r>
              <a:rPr lang="en-US" sz="2000">
                <a:solidFill>
                  <a:schemeClr val="bg1"/>
                </a:solidFill>
              </a:rPr>
              <a:t>Azure – Microhack development environment</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Microhack Challenges packet – complete challenges to complete Microhack successfully</a:t>
            </a:r>
          </a:p>
          <a:p>
            <a:pPr marL="800100" lvl="1" indent="-342900">
              <a:buFont typeface="Arial" panose="020B0604020202020204" pitchFamily="34" charset="0"/>
              <a:buChar char="•"/>
            </a:pPr>
            <a:r>
              <a:rPr lang="en-US" sz="2000">
                <a:solidFill>
                  <a:schemeClr val="bg1"/>
                </a:solidFill>
              </a:rPr>
              <a:t>Search Service Deployment</a:t>
            </a:r>
          </a:p>
          <a:p>
            <a:pPr marL="800100" lvl="1" indent="-342900">
              <a:buFont typeface="Arial" panose="020B0604020202020204" pitchFamily="34" charset="0"/>
              <a:buChar char="•"/>
            </a:pPr>
            <a:r>
              <a:rPr lang="en-US" sz="2000">
                <a:solidFill>
                  <a:schemeClr val="bg1"/>
                </a:solidFill>
              </a:rPr>
              <a:t>Creating Vector Indexes </a:t>
            </a:r>
          </a:p>
          <a:p>
            <a:pPr marL="800100" lvl="1" indent="-342900">
              <a:buFont typeface="Arial" panose="020B0604020202020204" pitchFamily="34" charset="0"/>
              <a:buChar char="•"/>
            </a:pPr>
            <a:r>
              <a:rPr lang="en-US" sz="2000">
                <a:solidFill>
                  <a:schemeClr val="bg1"/>
                </a:solidFill>
              </a:rPr>
              <a:t>Querying Vector Indexes</a:t>
            </a:r>
          </a:p>
          <a:p>
            <a:pPr marL="800100" lvl="1" indent="-342900">
              <a:buFont typeface="Arial" panose="020B0604020202020204" pitchFamily="34" charset="0"/>
              <a:buChar char="•"/>
            </a:pPr>
            <a:r>
              <a:rPr lang="en-US" sz="2000">
                <a:solidFill>
                  <a:schemeClr val="bg1"/>
                </a:solidFill>
              </a:rPr>
              <a:t>Integrating RAG into existing application</a:t>
            </a:r>
          </a:p>
          <a:p>
            <a:pPr marL="800100" lvl="1" indent="-342900">
              <a:buFont typeface="Arial" panose="020B0604020202020204" pitchFamily="34" charset="0"/>
              <a:buChar char="•"/>
            </a:pPr>
            <a:r>
              <a:rPr lang="en-US" sz="2000">
                <a:solidFill>
                  <a:schemeClr val="bg1"/>
                </a:solidFill>
              </a:rPr>
              <a:t>Advanced Challenges (</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Optional</a:t>
            </a:r>
            <a:r>
              <a:rPr lang="en-US" sz="2000">
                <a:solidFill>
                  <a:schemeClr val="bg1"/>
                </a:solidFill>
              </a:rPr>
              <a:t>)</a:t>
            </a:r>
          </a:p>
        </p:txBody>
      </p:sp>
    </p:spTree>
    <p:extLst>
      <p:ext uri="{BB962C8B-B14F-4D97-AF65-F5344CB8AC3E}">
        <p14:creationId xmlns:p14="http://schemas.microsoft.com/office/powerpoint/2010/main" val="354352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1D2B251-2BD1-D681-778C-6EF908B707A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5947DE1-494B-A7C1-DC7C-D846EF147317}"/>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8771C673-F004-DA64-F097-18F1D00BE52D}"/>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7D92E15F-F879-8FC4-4443-DD93EC990F40}"/>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Rules of Engagement</a:t>
            </a:r>
          </a:p>
        </p:txBody>
      </p:sp>
      <p:sp>
        <p:nvSpPr>
          <p:cNvPr id="27" name="Text Placeholder 2">
            <a:extLst>
              <a:ext uri="{FF2B5EF4-FFF2-40B4-BE49-F238E27FC236}">
                <a16:creationId xmlns:a16="http://schemas.microsoft.com/office/drawing/2014/main" id="{180CFB77-C8EC-C0C1-228E-B7CA77500570}"/>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s</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E88CCF64-4EFD-9302-ED9C-584CC3DF20CD}"/>
              </a:ext>
            </a:extLst>
          </p:cNvPr>
          <p:cNvSpPr txBox="1"/>
          <p:nvPr/>
        </p:nvSpPr>
        <p:spPr>
          <a:xfrm>
            <a:off x="1051248" y="1855851"/>
            <a:ext cx="5660701" cy="276998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Invest in yourself.  This is your training and your dedicated time for training.  Make the most of it.</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tribute to the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You can finish in the time allotted, but you will need the time and group collaboration in order to finis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Share completion information in the main team channel.</a:t>
            </a:r>
          </a:p>
        </p:txBody>
      </p:sp>
      <p:sp>
        <p:nvSpPr>
          <p:cNvPr id="29" name="Text Placeholder 2">
            <a:extLst>
              <a:ext uri="{FF2B5EF4-FFF2-40B4-BE49-F238E27FC236}">
                <a16:creationId xmlns:a16="http://schemas.microsoft.com/office/drawing/2014/main" id="{F383962F-4945-5BF8-D77C-2318EF0DCC5B}"/>
              </a:ext>
            </a:extLst>
          </p:cNvPr>
          <p:cNvSpPr txBox="1">
            <a:spLocks/>
          </p:cNvSpPr>
          <p:nvPr/>
        </p:nvSpPr>
        <p:spPr>
          <a:xfrm>
            <a:off x="5578582" y="4490975"/>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n’t</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CB7CE7DD-3A92-633B-F386-A48D7241A787}"/>
              </a:ext>
            </a:extLst>
          </p:cNvPr>
          <p:cNvSpPr txBox="1"/>
          <p:nvPr/>
        </p:nvSpPr>
        <p:spPr>
          <a:xfrm>
            <a:off x="6011086" y="5002150"/>
            <a:ext cx="5072479"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Leave your team for extended periods of ti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Give up (ask if you need help).</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p:txBody>
      </p:sp>
    </p:spTree>
    <p:extLst>
      <p:ext uri="{BB962C8B-B14F-4D97-AF65-F5344CB8AC3E}">
        <p14:creationId xmlns:p14="http://schemas.microsoft.com/office/powerpoint/2010/main" val="8214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CC113-B76D-8B55-589D-563F9276B5F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5EF2F01-CB31-09C5-2E81-B2B6D9269BA6}"/>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52572C65-A264-8B57-20E1-7502F16320C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F8FC9369-EED2-BA0F-45A9-3DF8B5DA016F}"/>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Customer Scenario | Contoso</a:t>
            </a:r>
          </a:p>
        </p:txBody>
      </p:sp>
      <p:sp>
        <p:nvSpPr>
          <p:cNvPr id="27" name="Text Placeholder 2">
            <a:extLst>
              <a:ext uri="{FF2B5EF4-FFF2-40B4-BE49-F238E27FC236}">
                <a16:creationId xmlns:a16="http://schemas.microsoft.com/office/drawing/2014/main" id="{2E2143A7-C63E-3FDD-4464-EC5C87229446}"/>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is Contoso?</a:t>
            </a:r>
            <a:endParaRPr kumimoji="0" lang="en-US" sz="2800" b="0" i="0" u="none" strike="noStrike" kern="1200" cap="none" spc="0" normalizeH="0" baseline="0" noProof="0" dirty="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D169D1DC-F357-D887-14F6-B8403A97CA46}"/>
              </a:ext>
            </a:extLst>
          </p:cNvPr>
          <p:cNvSpPr txBox="1"/>
          <p:nvPr/>
        </p:nvSpPr>
        <p:spPr>
          <a:xfrm>
            <a:off x="1051248" y="1855851"/>
            <a:ext cx="5660701" cy="153888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Technology compan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Enormous employee benefits portfoli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Rapidly growing employee benefits ecosyste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Desperate legacy employee benefits documentation </a:t>
            </a:r>
          </a:p>
        </p:txBody>
      </p:sp>
      <p:sp>
        <p:nvSpPr>
          <p:cNvPr id="29" name="Text Placeholder 2">
            <a:extLst>
              <a:ext uri="{FF2B5EF4-FFF2-40B4-BE49-F238E27FC236}">
                <a16:creationId xmlns:a16="http://schemas.microsoft.com/office/drawing/2014/main" id="{A02B192D-2667-E2A1-851C-280017BDB6B9}"/>
              </a:ext>
            </a:extLst>
          </p:cNvPr>
          <p:cNvSpPr txBox="1">
            <a:spLocks/>
          </p:cNvSpPr>
          <p:nvPr/>
        </p:nvSpPr>
        <p:spPr>
          <a:xfrm>
            <a:off x="5567080" y="3771043"/>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is Contoso trying to accomplis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FD702DB6-8D25-AAEB-FD10-E8AEEECEA7E6}"/>
              </a:ext>
            </a:extLst>
          </p:cNvPr>
          <p:cNvSpPr txBox="1"/>
          <p:nvPr/>
        </p:nvSpPr>
        <p:spPr>
          <a:xfrm>
            <a:off x="5999584" y="4282218"/>
            <a:ext cx="5072479" cy="153888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solidate employee benefits catalo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Streamline and modernize </a:t>
            </a:r>
            <a:r>
              <a:rPr kumimoji="0" lang="en-US" sz="2000" b="0" i="0" u="none" strike="noStrike" kern="1200" cap="none" spc="0" normalizeH="0" baseline="0" noProof="0">
                <a:ln>
                  <a:noFill/>
                </a:ln>
                <a:solidFill>
                  <a:srgbClr val="FFFFFF"/>
                </a:solidFill>
                <a:effectLst/>
                <a:uLnTx/>
                <a:uFillTx/>
                <a:latin typeface="Segoe Sans Text"/>
                <a:ea typeface="+mn-ea"/>
                <a:cs typeface="+mn-cs"/>
              </a:rPr>
              <a:t>employee benefits</a:t>
            </a:r>
            <a:r>
              <a:rPr lang="en-US" sz="2000">
                <a:solidFill>
                  <a:srgbClr val="FFFFFF"/>
                </a:solidFill>
                <a:latin typeface="Segoe Sans Text"/>
              </a:rPr>
              <a:t> document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Increase easy</a:t>
            </a:r>
            <a:r>
              <a:rPr lang="en-US" sz="2000">
                <a:solidFill>
                  <a:srgbClr val="FFFFFF"/>
                </a:solidFill>
                <a:latin typeface="Segoe Sans Text"/>
              </a:rPr>
              <a:t>-of-use of </a:t>
            </a:r>
            <a:r>
              <a:rPr kumimoji="0" lang="en-US" sz="2000" b="0" i="0" u="none" strike="noStrike" kern="1200" cap="none" spc="0" normalizeH="0" baseline="0" noProof="0">
                <a:ln>
                  <a:noFill/>
                </a:ln>
                <a:solidFill>
                  <a:srgbClr val="FFFFFF"/>
                </a:solidFill>
                <a:effectLst/>
                <a:uLnTx/>
                <a:uFillTx/>
                <a:latin typeface="Segoe Sans Text"/>
                <a:ea typeface="+mn-ea"/>
                <a:cs typeface="+mn-cs"/>
              </a:rPr>
              <a:t>employee benefits</a:t>
            </a:r>
            <a:r>
              <a:rPr lang="en-US" sz="2000">
                <a:solidFill>
                  <a:srgbClr val="FFFFFF"/>
                </a:solidFill>
                <a:latin typeface="Segoe Sans Text"/>
              </a:rPr>
              <a:t> catalog understanding</a:t>
            </a:r>
            <a:r>
              <a:rPr kumimoji="0" lang="en-US" sz="2000" b="0" i="0" u="none" strike="noStrike" kern="1200" cap="none" spc="0" normalizeH="0" baseline="0" noProof="0">
                <a:ln>
                  <a:noFill/>
                </a:ln>
                <a:solidFill>
                  <a:srgbClr val="FFFFFF"/>
                </a:solidFill>
                <a:effectLst/>
                <a:uLnTx/>
                <a:uFillTx/>
                <a:latin typeface="Segoe Sans Text"/>
                <a:ea typeface="+mn-ea"/>
                <a:cs typeface="+mn-cs"/>
              </a:rPr>
              <a:t> </a:t>
            </a:r>
          </a:p>
        </p:txBody>
      </p:sp>
    </p:spTree>
    <p:extLst>
      <p:ext uri="{BB962C8B-B14F-4D97-AF65-F5344CB8AC3E}">
        <p14:creationId xmlns:p14="http://schemas.microsoft.com/office/powerpoint/2010/main" val="302340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421FE9EF-0E11-DA6A-B2F5-D4D170E203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DA7224-9B95-B4D0-B146-456540411282}"/>
              </a:ext>
            </a:extLst>
          </p:cNvPr>
          <p:cNvSpPr>
            <a:spLocks noGrp="1"/>
          </p:cNvSpPr>
          <p:nvPr>
            <p:ph type="title"/>
          </p:nvPr>
        </p:nvSpPr>
        <p:spPr>
          <a:xfrm>
            <a:off x="588263" y="457200"/>
            <a:ext cx="11018520" cy="553998"/>
          </a:xfrm>
        </p:spPr>
        <p:txBody>
          <a:bodyPr wrap="square" anchor="t">
            <a:normAutofit/>
          </a:bodyPr>
          <a:lstStyle/>
          <a:p>
            <a:r>
              <a:rPr lang="en-US">
                <a:solidFill>
                  <a:schemeClr val="bg1"/>
                </a:solidFill>
              </a:rPr>
              <a:t>Bringing domain </a:t>
            </a:r>
            <a:r>
              <a:rPr kumimoji="0" lang="en-US" sz="3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knowledge</a:t>
            </a:r>
            <a:r>
              <a:rPr lang="en-US">
                <a:solidFill>
                  <a:schemeClr val="bg1"/>
                </a:solidFill>
              </a:rPr>
              <a:t> to LLMs</a:t>
            </a:r>
          </a:p>
        </p:txBody>
      </p:sp>
      <p:sp>
        <p:nvSpPr>
          <p:cNvPr id="13" name="Rounded Rectangle 1">
            <a:extLst>
              <a:ext uri="{FF2B5EF4-FFF2-40B4-BE49-F238E27FC236}">
                <a16:creationId xmlns:a16="http://schemas.microsoft.com/office/drawing/2014/main" id="{8941D711-63FB-2C0F-277C-BC22B05BBB74}"/>
              </a:ext>
              <a:ext uri="{C183D7F6-B498-43B3-948B-1728B52AA6E4}">
                <adec:decorative xmlns:adec="http://schemas.microsoft.com/office/drawing/2017/decorative" val="1"/>
              </a:ext>
            </a:extLst>
          </p:cNvPr>
          <p:cNvSpPr/>
          <p:nvPr/>
        </p:nvSpPr>
        <p:spPr bwMode="auto">
          <a:xfrm>
            <a:off x="590560" y="1753486"/>
            <a:ext cx="3291840" cy="3931920"/>
          </a:xfrm>
          <a:prstGeom prst="roundRect">
            <a:avLst>
              <a:gd name="adj" fmla="val 2824"/>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Prompt</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engineer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In-context learning</a:t>
            </a:r>
          </a:p>
        </p:txBody>
      </p:sp>
      <p:sp>
        <p:nvSpPr>
          <p:cNvPr id="14" name="Rounded Rectangle 299">
            <a:extLst>
              <a:ext uri="{FF2B5EF4-FFF2-40B4-BE49-F238E27FC236}">
                <a16:creationId xmlns:a16="http://schemas.microsoft.com/office/drawing/2014/main" id="{63D65848-8164-E7DD-5053-C7C49BD51CA0}"/>
              </a:ext>
              <a:ext uri="{C183D7F6-B498-43B3-948B-1728B52AA6E4}">
                <adec:decorative xmlns:adec="http://schemas.microsoft.com/office/drawing/2017/decorative" val="1"/>
              </a:ext>
            </a:extLst>
          </p:cNvPr>
          <p:cNvSpPr/>
          <p:nvPr/>
        </p:nvSpPr>
        <p:spPr bwMode="auto">
          <a:xfrm>
            <a:off x="4453954" y="1753486"/>
            <a:ext cx="3291840" cy="3931920"/>
          </a:xfrm>
          <a:prstGeom prst="roundRect">
            <a:avLst>
              <a:gd name="adj" fmla="val 2893"/>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Fine</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tun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skills</a:t>
            </a:r>
          </a:p>
        </p:txBody>
      </p:sp>
      <p:sp>
        <p:nvSpPr>
          <p:cNvPr id="15" name="Rounded Rectangle 300">
            <a:extLst>
              <a:ext uri="{FF2B5EF4-FFF2-40B4-BE49-F238E27FC236}">
                <a16:creationId xmlns:a16="http://schemas.microsoft.com/office/drawing/2014/main" id="{8BA40196-7A63-66A7-F181-26C162FA8D46}"/>
              </a:ext>
              <a:ext uri="{C183D7F6-B498-43B3-948B-1728B52AA6E4}">
                <adec:decorative xmlns:adec="http://schemas.microsoft.com/office/drawing/2017/decorative" val="1"/>
              </a:ext>
            </a:extLst>
          </p:cNvPr>
          <p:cNvSpPr/>
          <p:nvPr/>
        </p:nvSpPr>
        <p:spPr bwMode="auto">
          <a:xfrm>
            <a:off x="8317349" y="1753486"/>
            <a:ext cx="3291840" cy="3931920"/>
          </a:xfrm>
          <a:prstGeom prst="roundRect">
            <a:avLst>
              <a:gd name="adj" fmla="val 270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Retrieval augmentation</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facts</a:t>
            </a:r>
          </a:p>
        </p:txBody>
      </p:sp>
      <p:sp>
        <p:nvSpPr>
          <p:cNvPr id="16" name="Graphic 13">
            <a:extLst>
              <a:ext uri="{FF2B5EF4-FFF2-40B4-BE49-F238E27FC236}">
                <a16:creationId xmlns:a16="http://schemas.microsoft.com/office/drawing/2014/main" id="{F43591FB-6901-4F48-F17A-B433F7A1B4C3}"/>
              </a:ext>
              <a:ext uri="{C183D7F6-B498-43B3-948B-1728B52AA6E4}">
                <adec:decorative xmlns:adec="http://schemas.microsoft.com/office/drawing/2017/decorative" val="1"/>
              </a:ext>
            </a:extLst>
          </p:cNvPr>
          <p:cNvSpPr>
            <a:spLocks noChangeAspect="1"/>
          </p:cNvSpPr>
          <p:nvPr/>
        </p:nvSpPr>
        <p:spPr>
          <a:xfrm>
            <a:off x="1881884" y="2690359"/>
            <a:ext cx="709193" cy="702619"/>
          </a:xfrm>
          <a:custGeom>
            <a:avLst/>
            <a:gdLst>
              <a:gd name="connsiteX0" fmla="*/ 231767 w 482444"/>
              <a:gd name="connsiteY0" fmla="*/ 0 h 477972"/>
              <a:gd name="connsiteX1" fmla="*/ 463534 w 482444"/>
              <a:gd name="connsiteY1" fmla="*/ 231767 h 477972"/>
              <a:gd name="connsiteX2" fmla="*/ 462838 w 482444"/>
              <a:gd name="connsiteY2" fmla="*/ 249844 h 477972"/>
              <a:gd name="connsiteX3" fmla="*/ 249845 w 482444"/>
              <a:gd name="connsiteY3" fmla="*/ 254700 h 477972"/>
              <a:gd name="connsiteX4" fmla="*/ 249845 w 482444"/>
              <a:gd name="connsiteY4" fmla="*/ 462838 h 477972"/>
              <a:gd name="connsiteX5" fmla="*/ 124111 w 482444"/>
              <a:gd name="connsiteY5" fmla="*/ 437066 h 477972"/>
              <a:gd name="connsiteX6" fmla="*/ 24683 w 482444"/>
              <a:gd name="connsiteY6" fmla="*/ 462954 h 477972"/>
              <a:gd name="connsiteX7" fmla="*/ 695 w 482444"/>
              <a:gd name="connsiteY7" fmla="*/ 448784 h 477972"/>
              <a:gd name="connsiteX8" fmla="*/ 695 w 482444"/>
              <a:gd name="connsiteY8" fmla="*/ 438966 h 477972"/>
              <a:gd name="connsiteX9" fmla="*/ 26561 w 482444"/>
              <a:gd name="connsiteY9" fmla="*/ 339561 h 477972"/>
              <a:gd name="connsiteX10" fmla="*/ 0 w 482444"/>
              <a:gd name="connsiteY10" fmla="*/ 231767 h 477972"/>
              <a:gd name="connsiteX11" fmla="*/ 231767 w 482444"/>
              <a:gd name="connsiteY11" fmla="*/ 0 h 477972"/>
              <a:gd name="connsiteX12" fmla="*/ 284563 w 482444"/>
              <a:gd name="connsiteY12" fmla="*/ 277564 h 477972"/>
              <a:gd name="connsiteX13" fmla="*/ 252881 w 482444"/>
              <a:gd name="connsiteY13" fmla="*/ 334954 h 477972"/>
              <a:gd name="connsiteX14" fmla="*/ 251166 w 482444"/>
              <a:gd name="connsiteY14" fmla="*/ 335413 h 477972"/>
              <a:gd name="connsiteX15" fmla="*/ 237631 w 482444"/>
              <a:gd name="connsiteY15" fmla="*/ 338750 h 477972"/>
              <a:gd name="connsiteX16" fmla="*/ 237770 w 482444"/>
              <a:gd name="connsiteY16" fmla="*/ 380630 h 477972"/>
              <a:gd name="connsiteX17" fmla="*/ 250285 w 482444"/>
              <a:gd name="connsiteY17" fmla="*/ 383643 h 477972"/>
              <a:gd name="connsiteX18" fmla="*/ 284494 w 482444"/>
              <a:gd name="connsiteY18" fmla="*/ 439562 h 477972"/>
              <a:gd name="connsiteX19" fmla="*/ 283891 w 482444"/>
              <a:gd name="connsiteY19" fmla="*/ 441817 h 477972"/>
              <a:gd name="connsiteX20" fmla="*/ 279557 w 482444"/>
              <a:gd name="connsiteY20" fmla="*/ 456464 h 477972"/>
              <a:gd name="connsiteX21" fmla="*/ 313951 w 482444"/>
              <a:gd name="connsiteY21" fmla="*/ 477833 h 477972"/>
              <a:gd name="connsiteX22" fmla="*/ 325401 w 482444"/>
              <a:gd name="connsiteY22" fmla="*/ 465781 h 477972"/>
              <a:gd name="connsiteX23" fmla="*/ 390933 w 482444"/>
              <a:gd name="connsiteY23" fmla="*/ 464148 h 477972"/>
              <a:gd name="connsiteX24" fmla="*/ 392590 w 482444"/>
              <a:gd name="connsiteY24" fmla="*/ 465805 h 477972"/>
              <a:gd name="connsiteX25" fmla="*/ 404132 w 482444"/>
              <a:gd name="connsiteY25" fmla="*/ 477972 h 477972"/>
              <a:gd name="connsiteX26" fmla="*/ 438503 w 482444"/>
              <a:gd name="connsiteY26" fmla="*/ 456812 h 477972"/>
              <a:gd name="connsiteX27" fmla="*/ 433914 w 482444"/>
              <a:gd name="connsiteY27" fmla="*/ 440913 h 477972"/>
              <a:gd name="connsiteX28" fmla="*/ 465596 w 482444"/>
              <a:gd name="connsiteY28" fmla="*/ 383523 h 477972"/>
              <a:gd name="connsiteX29" fmla="*/ 467311 w 482444"/>
              <a:gd name="connsiteY29" fmla="*/ 383064 h 477972"/>
              <a:gd name="connsiteX30" fmla="*/ 480847 w 482444"/>
              <a:gd name="connsiteY30" fmla="*/ 379727 h 477972"/>
              <a:gd name="connsiteX31" fmla="*/ 480707 w 482444"/>
              <a:gd name="connsiteY31" fmla="*/ 337823 h 477972"/>
              <a:gd name="connsiteX32" fmla="*/ 468192 w 482444"/>
              <a:gd name="connsiteY32" fmla="*/ 334810 h 477972"/>
              <a:gd name="connsiteX33" fmla="*/ 433983 w 482444"/>
              <a:gd name="connsiteY33" fmla="*/ 278892 h 477972"/>
              <a:gd name="connsiteX34" fmla="*/ 434586 w 482444"/>
              <a:gd name="connsiteY34" fmla="*/ 276637 h 477972"/>
              <a:gd name="connsiteX35" fmla="*/ 438920 w 482444"/>
              <a:gd name="connsiteY35" fmla="*/ 262035 h 477972"/>
              <a:gd name="connsiteX36" fmla="*/ 404526 w 482444"/>
              <a:gd name="connsiteY36" fmla="*/ 240667 h 477972"/>
              <a:gd name="connsiteX37" fmla="*/ 393100 w 482444"/>
              <a:gd name="connsiteY37" fmla="*/ 252672 h 477972"/>
              <a:gd name="connsiteX38" fmla="*/ 327568 w 482444"/>
              <a:gd name="connsiteY38" fmla="*/ 254352 h 477972"/>
              <a:gd name="connsiteX39" fmla="*/ 325887 w 482444"/>
              <a:gd name="connsiteY39" fmla="*/ 252672 h 477972"/>
              <a:gd name="connsiteX40" fmla="*/ 314345 w 482444"/>
              <a:gd name="connsiteY40" fmla="*/ 240504 h 477972"/>
              <a:gd name="connsiteX41" fmla="*/ 279974 w 482444"/>
              <a:gd name="connsiteY41" fmla="*/ 261641 h 477972"/>
              <a:gd name="connsiteX42" fmla="*/ 284563 w 482444"/>
              <a:gd name="connsiteY42" fmla="*/ 277564 h 477972"/>
              <a:gd name="connsiteX43" fmla="*/ 359239 w 482444"/>
              <a:gd name="connsiteY43" fmla="*/ 324473 h 477972"/>
              <a:gd name="connsiteX44" fmla="*/ 392845 w 482444"/>
              <a:gd name="connsiteY44" fmla="*/ 359238 h 477972"/>
              <a:gd name="connsiteX45" fmla="*/ 359239 w 482444"/>
              <a:gd name="connsiteY45" fmla="*/ 394003 h 477972"/>
              <a:gd name="connsiteX46" fmla="*/ 325632 w 482444"/>
              <a:gd name="connsiteY46" fmla="*/ 359238 h 477972"/>
              <a:gd name="connsiteX47" fmla="*/ 359239 w 482444"/>
              <a:gd name="connsiteY47" fmla="*/ 324473 h 47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82444" h="477972">
                <a:moveTo>
                  <a:pt x="231767" y="0"/>
                </a:moveTo>
                <a:cubicBezTo>
                  <a:pt x="359772" y="0"/>
                  <a:pt x="463534" y="103762"/>
                  <a:pt x="463534" y="231767"/>
                </a:cubicBezTo>
                <a:cubicBezTo>
                  <a:pt x="463534" y="237862"/>
                  <a:pt x="463302" y="243888"/>
                  <a:pt x="462838" y="249844"/>
                </a:cubicBezTo>
                <a:cubicBezTo>
                  <a:pt x="402681" y="192369"/>
                  <a:pt x="307320" y="194543"/>
                  <a:pt x="249845" y="254700"/>
                </a:cubicBezTo>
                <a:cubicBezTo>
                  <a:pt x="194214" y="312927"/>
                  <a:pt x="194214" y="404611"/>
                  <a:pt x="249845" y="462838"/>
                </a:cubicBezTo>
                <a:cubicBezTo>
                  <a:pt x="206340" y="466305"/>
                  <a:pt x="162744" y="457368"/>
                  <a:pt x="124111" y="437066"/>
                </a:cubicBezTo>
                <a:lnTo>
                  <a:pt x="24683" y="462954"/>
                </a:lnTo>
                <a:cubicBezTo>
                  <a:pt x="14147" y="465666"/>
                  <a:pt x="3407" y="459322"/>
                  <a:pt x="695" y="448784"/>
                </a:cubicBezTo>
                <a:cubicBezTo>
                  <a:pt x="-133" y="445565"/>
                  <a:pt x="-133" y="442185"/>
                  <a:pt x="695" y="438966"/>
                </a:cubicBezTo>
                <a:lnTo>
                  <a:pt x="26561" y="339561"/>
                </a:lnTo>
                <a:cubicBezTo>
                  <a:pt x="9069" y="306326"/>
                  <a:pt x="-48" y="269324"/>
                  <a:pt x="0" y="231767"/>
                </a:cubicBezTo>
                <a:cubicBezTo>
                  <a:pt x="0" y="103762"/>
                  <a:pt x="103762" y="0"/>
                  <a:pt x="231767" y="0"/>
                </a:cubicBezTo>
                <a:close/>
                <a:moveTo>
                  <a:pt x="284563" y="277564"/>
                </a:moveTo>
                <a:cubicBezTo>
                  <a:pt x="291662" y="302161"/>
                  <a:pt x="277478" y="327855"/>
                  <a:pt x="252881" y="334954"/>
                </a:cubicBezTo>
                <a:cubicBezTo>
                  <a:pt x="252313" y="335116"/>
                  <a:pt x="251741" y="335271"/>
                  <a:pt x="251166" y="335413"/>
                </a:cubicBezTo>
                <a:lnTo>
                  <a:pt x="237631" y="338750"/>
                </a:lnTo>
                <a:cubicBezTo>
                  <a:pt x="235461" y="352631"/>
                  <a:pt x="235508" y="366766"/>
                  <a:pt x="237770" y="380630"/>
                </a:cubicBezTo>
                <a:lnTo>
                  <a:pt x="250285" y="383643"/>
                </a:lnTo>
                <a:cubicBezTo>
                  <a:pt x="275174" y="389639"/>
                  <a:pt x="290490" y="414675"/>
                  <a:pt x="284494" y="439562"/>
                </a:cubicBezTo>
                <a:cubicBezTo>
                  <a:pt x="284313" y="440320"/>
                  <a:pt x="284111" y="441071"/>
                  <a:pt x="283891" y="441817"/>
                </a:cubicBezTo>
                <a:lnTo>
                  <a:pt x="279557" y="456464"/>
                </a:lnTo>
                <a:cubicBezTo>
                  <a:pt x="289755" y="465411"/>
                  <a:pt x="301343" y="472665"/>
                  <a:pt x="313951" y="477833"/>
                </a:cubicBezTo>
                <a:lnTo>
                  <a:pt x="325401" y="465781"/>
                </a:lnTo>
                <a:cubicBezTo>
                  <a:pt x="343045" y="447233"/>
                  <a:pt x="372387" y="446503"/>
                  <a:pt x="390933" y="464148"/>
                </a:cubicBezTo>
                <a:cubicBezTo>
                  <a:pt x="391500" y="464685"/>
                  <a:pt x="392052" y="465239"/>
                  <a:pt x="392590" y="465805"/>
                </a:cubicBezTo>
                <a:lnTo>
                  <a:pt x="404132" y="477972"/>
                </a:lnTo>
                <a:cubicBezTo>
                  <a:pt x="416682" y="472869"/>
                  <a:pt x="428296" y="465719"/>
                  <a:pt x="438503" y="456812"/>
                </a:cubicBezTo>
                <a:lnTo>
                  <a:pt x="433914" y="440913"/>
                </a:lnTo>
                <a:cubicBezTo>
                  <a:pt x="426815" y="416316"/>
                  <a:pt x="440999" y="390622"/>
                  <a:pt x="465596" y="383523"/>
                </a:cubicBezTo>
                <a:cubicBezTo>
                  <a:pt x="466164" y="383361"/>
                  <a:pt x="466737" y="383205"/>
                  <a:pt x="467311" y="383064"/>
                </a:cubicBezTo>
                <a:lnTo>
                  <a:pt x="480847" y="379727"/>
                </a:lnTo>
                <a:cubicBezTo>
                  <a:pt x="483023" y="365839"/>
                  <a:pt x="482976" y="351694"/>
                  <a:pt x="480707" y="337823"/>
                </a:cubicBezTo>
                <a:lnTo>
                  <a:pt x="468192" y="334810"/>
                </a:lnTo>
                <a:cubicBezTo>
                  <a:pt x="443303" y="328814"/>
                  <a:pt x="427987" y="303779"/>
                  <a:pt x="433983" y="278892"/>
                </a:cubicBezTo>
                <a:cubicBezTo>
                  <a:pt x="434164" y="278134"/>
                  <a:pt x="434366" y="277383"/>
                  <a:pt x="434586" y="276637"/>
                </a:cubicBezTo>
                <a:lnTo>
                  <a:pt x="438920" y="262035"/>
                </a:lnTo>
                <a:cubicBezTo>
                  <a:pt x="428722" y="253052"/>
                  <a:pt x="417097" y="245830"/>
                  <a:pt x="404526" y="240667"/>
                </a:cubicBezTo>
                <a:lnTo>
                  <a:pt x="393100" y="252672"/>
                </a:lnTo>
                <a:cubicBezTo>
                  <a:pt x="375467" y="271232"/>
                  <a:pt x="346127" y="271985"/>
                  <a:pt x="327568" y="254352"/>
                </a:cubicBezTo>
                <a:cubicBezTo>
                  <a:pt x="326993" y="253808"/>
                  <a:pt x="326432" y="253247"/>
                  <a:pt x="325887" y="252672"/>
                </a:cubicBezTo>
                <a:lnTo>
                  <a:pt x="314345" y="240504"/>
                </a:lnTo>
                <a:cubicBezTo>
                  <a:pt x="301797" y="245599"/>
                  <a:pt x="290184" y="252742"/>
                  <a:pt x="279974" y="261641"/>
                </a:cubicBezTo>
                <a:lnTo>
                  <a:pt x="284563" y="277564"/>
                </a:lnTo>
                <a:close/>
                <a:moveTo>
                  <a:pt x="359239" y="324473"/>
                </a:moveTo>
                <a:cubicBezTo>
                  <a:pt x="377780" y="324473"/>
                  <a:pt x="392845" y="340048"/>
                  <a:pt x="392845" y="359238"/>
                </a:cubicBezTo>
                <a:cubicBezTo>
                  <a:pt x="392845" y="378429"/>
                  <a:pt x="377780" y="394003"/>
                  <a:pt x="359239" y="394003"/>
                </a:cubicBezTo>
                <a:cubicBezTo>
                  <a:pt x="340697" y="394003"/>
                  <a:pt x="325632" y="378429"/>
                  <a:pt x="325632" y="359238"/>
                </a:cubicBezTo>
                <a:cubicBezTo>
                  <a:pt x="325632" y="340048"/>
                  <a:pt x="340697" y="324473"/>
                  <a:pt x="359239" y="324473"/>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7" name="Graphic 16">
            <a:extLst>
              <a:ext uri="{FF2B5EF4-FFF2-40B4-BE49-F238E27FC236}">
                <a16:creationId xmlns:a16="http://schemas.microsoft.com/office/drawing/2014/main" id="{9C1B44FF-FA10-8285-00E7-DCC5856823B3}"/>
              </a:ext>
              <a:ext uri="{C183D7F6-B498-43B3-948B-1728B52AA6E4}">
                <adec:decorative xmlns:adec="http://schemas.microsoft.com/office/drawing/2017/decorative" val="1"/>
              </a:ext>
            </a:extLst>
          </p:cNvPr>
          <p:cNvSpPr>
            <a:spLocks noChangeAspect="1"/>
          </p:cNvSpPr>
          <p:nvPr/>
        </p:nvSpPr>
        <p:spPr>
          <a:xfrm>
            <a:off x="9622573" y="2668588"/>
            <a:ext cx="681392" cy="715462"/>
          </a:xfrm>
          <a:custGeom>
            <a:avLst/>
            <a:gdLst>
              <a:gd name="connsiteX0" fmla="*/ 57942 w 463532"/>
              <a:gd name="connsiteY0" fmla="*/ 0 h 486709"/>
              <a:gd name="connsiteX1" fmla="*/ 0 w 463532"/>
              <a:gd name="connsiteY1" fmla="*/ 57942 h 486709"/>
              <a:gd name="connsiteX2" fmla="*/ 0 w 463532"/>
              <a:gd name="connsiteY2" fmla="*/ 405591 h 486709"/>
              <a:gd name="connsiteX3" fmla="*/ 57942 w 463532"/>
              <a:gd name="connsiteY3" fmla="*/ 463533 h 486709"/>
              <a:gd name="connsiteX4" fmla="*/ 227363 w 463532"/>
              <a:gd name="connsiteY4" fmla="*/ 463533 h 486709"/>
              <a:gd name="connsiteX5" fmla="*/ 202378 w 463532"/>
              <a:gd name="connsiteY5" fmla="*/ 428768 h 486709"/>
              <a:gd name="connsiteX6" fmla="*/ 57942 w 463532"/>
              <a:gd name="connsiteY6" fmla="*/ 428768 h 486709"/>
              <a:gd name="connsiteX7" fmla="*/ 34765 w 463532"/>
              <a:gd name="connsiteY7" fmla="*/ 405591 h 486709"/>
              <a:gd name="connsiteX8" fmla="*/ 192667 w 463532"/>
              <a:gd name="connsiteY8" fmla="*/ 405591 h 486709"/>
              <a:gd name="connsiteX9" fmla="*/ 289548 w 463532"/>
              <a:gd name="connsiteY9" fmla="*/ 215844 h 486709"/>
              <a:gd name="connsiteX10" fmla="*/ 382414 w 463532"/>
              <a:gd name="connsiteY10" fmla="*/ 215844 h 486709"/>
              <a:gd name="connsiteX11" fmla="*/ 382414 w 463532"/>
              <a:gd name="connsiteY11" fmla="*/ 57942 h 486709"/>
              <a:gd name="connsiteX12" fmla="*/ 324473 w 463532"/>
              <a:gd name="connsiteY12" fmla="*/ 0 h 486709"/>
              <a:gd name="connsiteX13" fmla="*/ 57942 w 463532"/>
              <a:gd name="connsiteY13" fmla="*/ 0 h 486709"/>
              <a:gd name="connsiteX14" fmla="*/ 92707 w 463532"/>
              <a:gd name="connsiteY14" fmla="*/ 69530 h 486709"/>
              <a:gd name="connsiteX15" fmla="*/ 278120 w 463532"/>
              <a:gd name="connsiteY15" fmla="*/ 69530 h 486709"/>
              <a:gd name="connsiteX16" fmla="*/ 301296 w 463532"/>
              <a:gd name="connsiteY16" fmla="*/ 92707 h 486709"/>
              <a:gd name="connsiteX17" fmla="*/ 301296 w 463532"/>
              <a:gd name="connsiteY17" fmla="*/ 115883 h 486709"/>
              <a:gd name="connsiteX18" fmla="*/ 278120 w 463532"/>
              <a:gd name="connsiteY18" fmla="*/ 139060 h 486709"/>
              <a:gd name="connsiteX19" fmla="*/ 92707 w 463532"/>
              <a:gd name="connsiteY19" fmla="*/ 139060 h 486709"/>
              <a:gd name="connsiteX20" fmla="*/ 69530 w 463532"/>
              <a:gd name="connsiteY20" fmla="*/ 115883 h 486709"/>
              <a:gd name="connsiteX21" fmla="*/ 69530 w 463532"/>
              <a:gd name="connsiteY21" fmla="*/ 92707 h 486709"/>
              <a:gd name="connsiteX22" fmla="*/ 92707 w 463532"/>
              <a:gd name="connsiteY22" fmla="*/ 69530 h 486709"/>
              <a:gd name="connsiteX23" fmla="*/ 463533 w 463532"/>
              <a:gd name="connsiteY23" fmla="*/ 359238 h 486709"/>
              <a:gd name="connsiteX24" fmla="*/ 336061 w 463532"/>
              <a:gd name="connsiteY24" fmla="*/ 231766 h 486709"/>
              <a:gd name="connsiteX25" fmla="*/ 208590 w 463532"/>
              <a:gd name="connsiteY25" fmla="*/ 359238 h 486709"/>
              <a:gd name="connsiteX26" fmla="*/ 336061 w 463532"/>
              <a:gd name="connsiteY26" fmla="*/ 486709 h 486709"/>
              <a:gd name="connsiteX27" fmla="*/ 463533 w 463532"/>
              <a:gd name="connsiteY27" fmla="*/ 359238 h 486709"/>
              <a:gd name="connsiteX28" fmla="*/ 347649 w 463532"/>
              <a:gd name="connsiteY28" fmla="*/ 370826 h 486709"/>
              <a:gd name="connsiteX29" fmla="*/ 347673 w 463532"/>
              <a:gd name="connsiteY29" fmla="*/ 428837 h 486709"/>
              <a:gd name="connsiteX30" fmla="*/ 336084 w 463532"/>
              <a:gd name="connsiteY30" fmla="*/ 440425 h 486709"/>
              <a:gd name="connsiteX31" fmla="*/ 324496 w 463532"/>
              <a:gd name="connsiteY31" fmla="*/ 428837 h 486709"/>
              <a:gd name="connsiteX32" fmla="*/ 324496 w 463532"/>
              <a:gd name="connsiteY32" fmla="*/ 370826 h 486709"/>
              <a:gd name="connsiteX33" fmla="*/ 266439 w 463532"/>
              <a:gd name="connsiteY33" fmla="*/ 370826 h 486709"/>
              <a:gd name="connsiteX34" fmla="*/ 254850 w 463532"/>
              <a:gd name="connsiteY34" fmla="*/ 359238 h 486709"/>
              <a:gd name="connsiteX35" fmla="*/ 266439 w 463532"/>
              <a:gd name="connsiteY35" fmla="*/ 347649 h 486709"/>
              <a:gd name="connsiteX36" fmla="*/ 324473 w 463532"/>
              <a:gd name="connsiteY36" fmla="*/ 347649 h 486709"/>
              <a:gd name="connsiteX37" fmla="*/ 324473 w 463532"/>
              <a:gd name="connsiteY37" fmla="*/ 289708 h 486709"/>
              <a:gd name="connsiteX38" fmla="*/ 336061 w 463532"/>
              <a:gd name="connsiteY38" fmla="*/ 278120 h 486709"/>
              <a:gd name="connsiteX39" fmla="*/ 347649 w 463532"/>
              <a:gd name="connsiteY39" fmla="*/ 289708 h 486709"/>
              <a:gd name="connsiteX40" fmla="*/ 347649 w 463532"/>
              <a:gd name="connsiteY40" fmla="*/ 347649 h 486709"/>
              <a:gd name="connsiteX41" fmla="*/ 405660 w 463532"/>
              <a:gd name="connsiteY41" fmla="*/ 347649 h 486709"/>
              <a:gd name="connsiteX42" fmla="*/ 417249 w 463532"/>
              <a:gd name="connsiteY42" fmla="*/ 359238 h 486709"/>
              <a:gd name="connsiteX43" fmla="*/ 405660 w 463532"/>
              <a:gd name="connsiteY43" fmla="*/ 370826 h 486709"/>
              <a:gd name="connsiteX44" fmla="*/ 347673 w 463532"/>
              <a:gd name="connsiteY44" fmla="*/ 370826 h 486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3532" h="486709">
                <a:moveTo>
                  <a:pt x="57942" y="0"/>
                </a:moveTo>
                <a:cubicBezTo>
                  <a:pt x="25941" y="0"/>
                  <a:pt x="0" y="25941"/>
                  <a:pt x="0" y="57942"/>
                </a:cubicBezTo>
                <a:lnTo>
                  <a:pt x="0" y="405591"/>
                </a:lnTo>
                <a:cubicBezTo>
                  <a:pt x="0" y="437591"/>
                  <a:pt x="25941" y="463533"/>
                  <a:pt x="57942" y="463533"/>
                </a:cubicBezTo>
                <a:lnTo>
                  <a:pt x="227363" y="463533"/>
                </a:lnTo>
                <a:cubicBezTo>
                  <a:pt x="217427" y="453189"/>
                  <a:pt x="209014" y="441482"/>
                  <a:pt x="202378" y="428768"/>
                </a:cubicBezTo>
                <a:lnTo>
                  <a:pt x="57942" y="428768"/>
                </a:lnTo>
                <a:cubicBezTo>
                  <a:pt x="45142" y="428768"/>
                  <a:pt x="34765" y="418391"/>
                  <a:pt x="34765" y="405591"/>
                </a:cubicBezTo>
                <a:lnTo>
                  <a:pt x="192667" y="405591"/>
                </a:lnTo>
                <a:cubicBezTo>
                  <a:pt x="167022" y="326440"/>
                  <a:pt x="210397" y="241489"/>
                  <a:pt x="289548" y="215844"/>
                </a:cubicBezTo>
                <a:cubicBezTo>
                  <a:pt x="319731" y="206066"/>
                  <a:pt x="352231" y="206066"/>
                  <a:pt x="382414" y="215844"/>
                </a:cubicBezTo>
                <a:lnTo>
                  <a:pt x="382414" y="57942"/>
                </a:lnTo>
                <a:cubicBezTo>
                  <a:pt x="382414" y="25941"/>
                  <a:pt x="356473" y="0"/>
                  <a:pt x="324473" y="0"/>
                </a:cubicBezTo>
                <a:lnTo>
                  <a:pt x="57942" y="0"/>
                </a:lnTo>
                <a:close/>
                <a:moveTo>
                  <a:pt x="92707" y="69530"/>
                </a:moveTo>
                <a:lnTo>
                  <a:pt x="278120" y="69530"/>
                </a:lnTo>
                <a:cubicBezTo>
                  <a:pt x="290920" y="69530"/>
                  <a:pt x="301296" y="79907"/>
                  <a:pt x="301296" y="92707"/>
                </a:cubicBezTo>
                <a:lnTo>
                  <a:pt x="301296" y="115883"/>
                </a:lnTo>
                <a:cubicBezTo>
                  <a:pt x="301296" y="128683"/>
                  <a:pt x="290920" y="139060"/>
                  <a:pt x="278120" y="139060"/>
                </a:cubicBezTo>
                <a:lnTo>
                  <a:pt x="92707" y="139060"/>
                </a:lnTo>
                <a:cubicBezTo>
                  <a:pt x="79907" y="139060"/>
                  <a:pt x="69530" y="128683"/>
                  <a:pt x="69530" y="115883"/>
                </a:cubicBezTo>
                <a:lnTo>
                  <a:pt x="69530" y="92707"/>
                </a:lnTo>
                <a:cubicBezTo>
                  <a:pt x="69530" y="79907"/>
                  <a:pt x="79907" y="69530"/>
                  <a:pt x="92707" y="69530"/>
                </a:cubicBezTo>
                <a:close/>
                <a:moveTo>
                  <a:pt x="463533" y="359238"/>
                </a:moveTo>
                <a:cubicBezTo>
                  <a:pt x="463533" y="288836"/>
                  <a:pt x="406462" y="231766"/>
                  <a:pt x="336061" y="231766"/>
                </a:cubicBezTo>
                <a:cubicBezTo>
                  <a:pt x="265660" y="231766"/>
                  <a:pt x="208590" y="288836"/>
                  <a:pt x="208590" y="359238"/>
                </a:cubicBezTo>
                <a:cubicBezTo>
                  <a:pt x="208590" y="429639"/>
                  <a:pt x="265660" y="486709"/>
                  <a:pt x="336061" y="486709"/>
                </a:cubicBezTo>
                <a:cubicBezTo>
                  <a:pt x="406462" y="486709"/>
                  <a:pt x="463533" y="429639"/>
                  <a:pt x="463533" y="359238"/>
                </a:cubicBezTo>
                <a:close/>
                <a:moveTo>
                  <a:pt x="347649" y="370826"/>
                </a:moveTo>
                <a:lnTo>
                  <a:pt x="347673" y="428837"/>
                </a:lnTo>
                <a:cubicBezTo>
                  <a:pt x="347673" y="435236"/>
                  <a:pt x="342483" y="440425"/>
                  <a:pt x="336084" y="440425"/>
                </a:cubicBezTo>
                <a:cubicBezTo>
                  <a:pt x="329685" y="440425"/>
                  <a:pt x="324496" y="435236"/>
                  <a:pt x="324496" y="428837"/>
                </a:cubicBezTo>
                <a:lnTo>
                  <a:pt x="324496" y="370826"/>
                </a:lnTo>
                <a:lnTo>
                  <a:pt x="266439" y="370826"/>
                </a:lnTo>
                <a:cubicBezTo>
                  <a:pt x="260039" y="370826"/>
                  <a:pt x="254850" y="365637"/>
                  <a:pt x="254850" y="359238"/>
                </a:cubicBezTo>
                <a:cubicBezTo>
                  <a:pt x="254850" y="352839"/>
                  <a:pt x="260039" y="347649"/>
                  <a:pt x="266439" y="347649"/>
                </a:cubicBezTo>
                <a:lnTo>
                  <a:pt x="324473" y="347649"/>
                </a:lnTo>
                <a:lnTo>
                  <a:pt x="324473" y="289708"/>
                </a:lnTo>
                <a:cubicBezTo>
                  <a:pt x="324473" y="283309"/>
                  <a:pt x="329662" y="278120"/>
                  <a:pt x="336061" y="278120"/>
                </a:cubicBezTo>
                <a:cubicBezTo>
                  <a:pt x="342460" y="278120"/>
                  <a:pt x="347649" y="283309"/>
                  <a:pt x="347649" y="289708"/>
                </a:cubicBezTo>
                <a:lnTo>
                  <a:pt x="347649" y="347649"/>
                </a:lnTo>
                <a:lnTo>
                  <a:pt x="405660" y="347649"/>
                </a:lnTo>
                <a:cubicBezTo>
                  <a:pt x="412060" y="347649"/>
                  <a:pt x="417249" y="352839"/>
                  <a:pt x="417249" y="359238"/>
                </a:cubicBezTo>
                <a:cubicBezTo>
                  <a:pt x="417249" y="365637"/>
                  <a:pt x="412060" y="370826"/>
                  <a:pt x="405660" y="370826"/>
                </a:cubicBezTo>
                <a:lnTo>
                  <a:pt x="347673" y="370826"/>
                </a:ln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8" name="Graphic 18">
            <a:extLst>
              <a:ext uri="{FF2B5EF4-FFF2-40B4-BE49-F238E27FC236}">
                <a16:creationId xmlns:a16="http://schemas.microsoft.com/office/drawing/2014/main" id="{24D50990-D36B-24E0-10B1-02DBC744BE31}"/>
              </a:ext>
              <a:ext uri="{C183D7F6-B498-43B3-948B-1728B52AA6E4}">
                <adec:decorative xmlns:adec="http://schemas.microsoft.com/office/drawing/2017/decorative" val="1"/>
              </a:ext>
            </a:extLst>
          </p:cNvPr>
          <p:cNvSpPr>
            <a:spLocks noChangeAspect="1"/>
          </p:cNvSpPr>
          <p:nvPr/>
        </p:nvSpPr>
        <p:spPr>
          <a:xfrm>
            <a:off x="5759178" y="2701385"/>
            <a:ext cx="681392" cy="681051"/>
          </a:xfrm>
          <a:custGeom>
            <a:avLst/>
            <a:gdLst>
              <a:gd name="connsiteX0" fmla="*/ 188658 w 463532"/>
              <a:gd name="connsiteY0" fmla="*/ 0 h 463300"/>
              <a:gd name="connsiteX1" fmla="*/ 214384 w 463532"/>
              <a:gd name="connsiteY1" fmla="*/ 32702 h 463300"/>
              <a:gd name="connsiteX2" fmla="*/ 214384 w 463532"/>
              <a:gd name="connsiteY2" fmla="*/ 133127 h 463300"/>
              <a:gd name="connsiteX3" fmla="*/ 193641 w 463532"/>
              <a:gd name="connsiteY3" fmla="*/ 133127 h 463300"/>
              <a:gd name="connsiteX4" fmla="*/ 133288 w 463532"/>
              <a:gd name="connsiteY4" fmla="*/ 107538 h 463300"/>
              <a:gd name="connsiteX5" fmla="*/ 107699 w 463532"/>
              <a:gd name="connsiteY5" fmla="*/ 167891 h 463300"/>
              <a:gd name="connsiteX6" fmla="*/ 168053 w 463532"/>
              <a:gd name="connsiteY6" fmla="*/ 193478 h 463300"/>
              <a:gd name="connsiteX7" fmla="*/ 193641 w 463532"/>
              <a:gd name="connsiteY7" fmla="*/ 167891 h 463300"/>
              <a:gd name="connsiteX8" fmla="*/ 214384 w 463532"/>
              <a:gd name="connsiteY8" fmla="*/ 167891 h 463300"/>
              <a:gd name="connsiteX9" fmla="*/ 214384 w 463532"/>
              <a:gd name="connsiteY9" fmla="*/ 420470 h 463300"/>
              <a:gd name="connsiteX10" fmla="*/ 196236 w 463532"/>
              <a:gd name="connsiteY10" fmla="*/ 454308 h 463300"/>
              <a:gd name="connsiteX11" fmla="*/ 160081 w 463532"/>
              <a:gd name="connsiteY11" fmla="*/ 463301 h 463300"/>
              <a:gd name="connsiteX12" fmla="*/ 82300 w 463532"/>
              <a:gd name="connsiteY12" fmla="*/ 424642 h 463300"/>
              <a:gd name="connsiteX13" fmla="*/ 58660 w 463532"/>
              <a:gd name="connsiteY13" fmla="*/ 375114 h 463300"/>
              <a:gd name="connsiteX14" fmla="*/ 29249 w 463532"/>
              <a:gd name="connsiteY14" fmla="*/ 359122 h 463300"/>
              <a:gd name="connsiteX15" fmla="*/ 0 w 463532"/>
              <a:gd name="connsiteY15" fmla="*/ 288781 h 463300"/>
              <a:gd name="connsiteX16" fmla="*/ 4404 w 463532"/>
              <a:gd name="connsiteY16" fmla="*/ 243216 h 463300"/>
              <a:gd name="connsiteX17" fmla="*/ 101977 w 463532"/>
              <a:gd name="connsiteY17" fmla="*/ 243216 h 463300"/>
              <a:gd name="connsiteX18" fmla="*/ 132918 w 463532"/>
              <a:gd name="connsiteY18" fmla="*/ 269892 h 463300"/>
              <a:gd name="connsiteX19" fmla="*/ 107805 w 463532"/>
              <a:gd name="connsiteY19" fmla="*/ 330445 h 463300"/>
              <a:gd name="connsiteX20" fmla="*/ 168358 w 463532"/>
              <a:gd name="connsiteY20" fmla="*/ 355557 h 463300"/>
              <a:gd name="connsiteX21" fmla="*/ 193472 w 463532"/>
              <a:gd name="connsiteY21" fmla="*/ 295004 h 463300"/>
              <a:gd name="connsiteX22" fmla="*/ 167845 w 463532"/>
              <a:gd name="connsiteY22" fmla="*/ 269683 h 463300"/>
              <a:gd name="connsiteX23" fmla="*/ 101977 w 463532"/>
              <a:gd name="connsiteY23" fmla="*/ 208451 h 463300"/>
              <a:gd name="connsiteX24" fmla="*/ 24104 w 463532"/>
              <a:gd name="connsiteY24" fmla="*/ 208451 h 463300"/>
              <a:gd name="connsiteX25" fmla="*/ 35576 w 463532"/>
              <a:gd name="connsiteY25" fmla="*/ 201451 h 463300"/>
              <a:gd name="connsiteX26" fmla="*/ 31451 w 463532"/>
              <a:gd name="connsiteY26" fmla="*/ 175331 h 463300"/>
              <a:gd name="connsiteX27" fmla="*/ 38288 w 463532"/>
              <a:gd name="connsiteY27" fmla="*/ 124783 h 463300"/>
              <a:gd name="connsiteX28" fmla="*/ 62345 w 463532"/>
              <a:gd name="connsiteY28" fmla="*/ 83668 h 463300"/>
              <a:gd name="connsiteX29" fmla="*/ 87747 w 463532"/>
              <a:gd name="connsiteY29" fmla="*/ 70526 h 463300"/>
              <a:gd name="connsiteX30" fmla="*/ 119105 w 463532"/>
              <a:gd name="connsiteY30" fmla="*/ 23316 h 463300"/>
              <a:gd name="connsiteX31" fmla="*/ 188635 w 463532"/>
              <a:gd name="connsiteY31" fmla="*/ 0 h 463300"/>
              <a:gd name="connsiteX32" fmla="*/ 249149 w 463532"/>
              <a:gd name="connsiteY32" fmla="*/ 347510 h 463300"/>
              <a:gd name="connsiteX33" fmla="*/ 287390 w 463532"/>
              <a:gd name="connsiteY33" fmla="*/ 347510 h 463300"/>
              <a:gd name="connsiteX34" fmla="*/ 353444 w 463532"/>
              <a:gd name="connsiteY34" fmla="*/ 281457 h 463300"/>
              <a:gd name="connsiteX35" fmla="*/ 353444 w 463532"/>
              <a:gd name="connsiteY35" fmla="*/ 239855 h 463300"/>
              <a:gd name="connsiteX36" fmla="*/ 379031 w 463532"/>
              <a:gd name="connsiteY36" fmla="*/ 179502 h 463300"/>
              <a:gd name="connsiteX37" fmla="*/ 318679 w 463532"/>
              <a:gd name="connsiteY37" fmla="*/ 153914 h 463300"/>
              <a:gd name="connsiteX38" fmla="*/ 293092 w 463532"/>
              <a:gd name="connsiteY38" fmla="*/ 214266 h 463300"/>
              <a:gd name="connsiteX39" fmla="*/ 318679 w 463532"/>
              <a:gd name="connsiteY39" fmla="*/ 239855 h 463300"/>
              <a:gd name="connsiteX40" fmla="*/ 318679 w 463532"/>
              <a:gd name="connsiteY40" fmla="*/ 281457 h 463300"/>
              <a:gd name="connsiteX41" fmla="*/ 287390 w 463532"/>
              <a:gd name="connsiteY41" fmla="*/ 312745 h 463300"/>
              <a:gd name="connsiteX42" fmla="*/ 249149 w 463532"/>
              <a:gd name="connsiteY42" fmla="*/ 312745 h 463300"/>
              <a:gd name="connsiteX43" fmla="*/ 249149 w 463532"/>
              <a:gd name="connsiteY43" fmla="*/ 32702 h 463300"/>
              <a:gd name="connsiteX44" fmla="*/ 274875 w 463532"/>
              <a:gd name="connsiteY44" fmla="*/ 0 h 463300"/>
              <a:gd name="connsiteX45" fmla="*/ 344428 w 463532"/>
              <a:gd name="connsiteY45" fmla="*/ 23316 h 463300"/>
              <a:gd name="connsiteX46" fmla="*/ 375786 w 463532"/>
              <a:gd name="connsiteY46" fmla="*/ 70526 h 463300"/>
              <a:gd name="connsiteX47" fmla="*/ 401187 w 463532"/>
              <a:gd name="connsiteY47" fmla="*/ 83668 h 463300"/>
              <a:gd name="connsiteX48" fmla="*/ 425245 w 463532"/>
              <a:gd name="connsiteY48" fmla="*/ 124783 h 463300"/>
              <a:gd name="connsiteX49" fmla="*/ 432082 w 463532"/>
              <a:gd name="connsiteY49" fmla="*/ 175331 h 463300"/>
              <a:gd name="connsiteX50" fmla="*/ 427956 w 463532"/>
              <a:gd name="connsiteY50" fmla="*/ 201451 h 463300"/>
              <a:gd name="connsiteX51" fmla="*/ 429486 w 463532"/>
              <a:gd name="connsiteY51" fmla="*/ 202147 h 463300"/>
              <a:gd name="connsiteX52" fmla="*/ 450206 w 463532"/>
              <a:gd name="connsiteY52" fmla="*/ 220920 h 463300"/>
              <a:gd name="connsiteX53" fmla="*/ 463533 w 463532"/>
              <a:gd name="connsiteY53" fmla="*/ 288781 h 463300"/>
              <a:gd name="connsiteX54" fmla="*/ 434284 w 463532"/>
              <a:gd name="connsiteY54" fmla="*/ 359122 h 463300"/>
              <a:gd name="connsiteX55" fmla="*/ 404849 w 463532"/>
              <a:gd name="connsiteY55" fmla="*/ 375114 h 463300"/>
              <a:gd name="connsiteX56" fmla="*/ 381232 w 463532"/>
              <a:gd name="connsiteY56" fmla="*/ 424642 h 463300"/>
              <a:gd name="connsiteX57" fmla="*/ 303428 w 463532"/>
              <a:gd name="connsiteY57" fmla="*/ 463301 h 463300"/>
              <a:gd name="connsiteX58" fmla="*/ 267273 w 463532"/>
              <a:gd name="connsiteY58" fmla="*/ 454331 h 463300"/>
              <a:gd name="connsiteX59" fmla="*/ 249149 w 463532"/>
              <a:gd name="connsiteY59" fmla="*/ 420470 h 463300"/>
              <a:gd name="connsiteX60" fmla="*/ 249149 w 463532"/>
              <a:gd name="connsiteY60" fmla="*/ 347510 h 463300"/>
              <a:gd name="connsiteX61" fmla="*/ 139060 w 463532"/>
              <a:gd name="connsiteY61" fmla="*/ 150509 h 463300"/>
              <a:gd name="connsiteX62" fmla="*/ 150648 w 463532"/>
              <a:gd name="connsiteY62" fmla="*/ 138921 h 463300"/>
              <a:gd name="connsiteX63" fmla="*/ 162236 w 463532"/>
              <a:gd name="connsiteY63" fmla="*/ 150509 h 463300"/>
              <a:gd name="connsiteX64" fmla="*/ 150648 w 463532"/>
              <a:gd name="connsiteY64" fmla="*/ 162097 h 463300"/>
              <a:gd name="connsiteX65" fmla="*/ 139060 w 463532"/>
              <a:gd name="connsiteY65" fmla="*/ 150509 h 463300"/>
              <a:gd name="connsiteX66" fmla="*/ 150648 w 463532"/>
              <a:gd name="connsiteY66" fmla="*/ 301157 h 463300"/>
              <a:gd name="connsiteX67" fmla="*/ 139060 w 463532"/>
              <a:gd name="connsiteY67" fmla="*/ 312745 h 463300"/>
              <a:gd name="connsiteX68" fmla="*/ 150648 w 463532"/>
              <a:gd name="connsiteY68" fmla="*/ 324334 h 463300"/>
              <a:gd name="connsiteX69" fmla="*/ 162236 w 463532"/>
              <a:gd name="connsiteY69" fmla="*/ 312745 h 463300"/>
              <a:gd name="connsiteX70" fmla="*/ 150648 w 463532"/>
              <a:gd name="connsiteY70" fmla="*/ 301157 h 463300"/>
              <a:gd name="connsiteX71" fmla="*/ 324473 w 463532"/>
              <a:gd name="connsiteY71" fmla="*/ 196862 h 463300"/>
              <a:gd name="connsiteX72" fmla="*/ 336061 w 463532"/>
              <a:gd name="connsiteY72" fmla="*/ 208451 h 463300"/>
              <a:gd name="connsiteX73" fmla="*/ 347649 w 463532"/>
              <a:gd name="connsiteY73" fmla="*/ 196862 h 463300"/>
              <a:gd name="connsiteX74" fmla="*/ 336061 w 463532"/>
              <a:gd name="connsiteY74" fmla="*/ 185274 h 463300"/>
              <a:gd name="connsiteX75" fmla="*/ 324473 w 463532"/>
              <a:gd name="connsiteY75" fmla="*/ 196862 h 46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3532" h="463300">
                <a:moveTo>
                  <a:pt x="188658" y="0"/>
                </a:moveTo>
                <a:cubicBezTo>
                  <a:pt x="205044" y="0"/>
                  <a:pt x="214384" y="16316"/>
                  <a:pt x="214384" y="32702"/>
                </a:cubicBezTo>
                <a:lnTo>
                  <a:pt x="214384" y="133127"/>
                </a:lnTo>
                <a:lnTo>
                  <a:pt x="193641" y="133127"/>
                </a:lnTo>
                <a:cubicBezTo>
                  <a:pt x="184041" y="109395"/>
                  <a:pt x="157020" y="97938"/>
                  <a:pt x="133288" y="107538"/>
                </a:cubicBezTo>
                <a:cubicBezTo>
                  <a:pt x="109556" y="117138"/>
                  <a:pt x="98099" y="144160"/>
                  <a:pt x="107699" y="167891"/>
                </a:cubicBezTo>
                <a:cubicBezTo>
                  <a:pt x="117299" y="191624"/>
                  <a:pt x="144321" y="203081"/>
                  <a:pt x="168053" y="193478"/>
                </a:cubicBezTo>
                <a:cubicBezTo>
                  <a:pt x="179696" y="188769"/>
                  <a:pt x="188931" y="179535"/>
                  <a:pt x="193641" y="167891"/>
                </a:cubicBezTo>
                <a:lnTo>
                  <a:pt x="214384" y="167891"/>
                </a:lnTo>
                <a:lnTo>
                  <a:pt x="214384" y="420470"/>
                </a:lnTo>
                <a:cubicBezTo>
                  <a:pt x="214384" y="434284"/>
                  <a:pt x="208543" y="448027"/>
                  <a:pt x="196236" y="454308"/>
                </a:cubicBezTo>
                <a:cubicBezTo>
                  <a:pt x="185077" y="460153"/>
                  <a:pt x="172678" y="463238"/>
                  <a:pt x="160081" y="463301"/>
                </a:cubicBezTo>
                <a:cubicBezTo>
                  <a:pt x="125084" y="463301"/>
                  <a:pt x="99057" y="445594"/>
                  <a:pt x="82300" y="424642"/>
                </a:cubicBezTo>
                <a:cubicBezTo>
                  <a:pt x="70695" y="410185"/>
                  <a:pt x="62603" y="393229"/>
                  <a:pt x="58660" y="375114"/>
                </a:cubicBezTo>
                <a:cubicBezTo>
                  <a:pt x="47837" y="371920"/>
                  <a:pt x="37813" y="366469"/>
                  <a:pt x="29249" y="359122"/>
                </a:cubicBezTo>
                <a:cubicBezTo>
                  <a:pt x="12793" y="344961"/>
                  <a:pt x="0" y="322248"/>
                  <a:pt x="0" y="288781"/>
                </a:cubicBezTo>
                <a:cubicBezTo>
                  <a:pt x="0" y="271282"/>
                  <a:pt x="1252" y="256032"/>
                  <a:pt x="4404" y="243216"/>
                </a:cubicBezTo>
                <a:lnTo>
                  <a:pt x="101977" y="243216"/>
                </a:lnTo>
                <a:cubicBezTo>
                  <a:pt x="117691" y="243216"/>
                  <a:pt x="130716" y="254804"/>
                  <a:pt x="132918" y="269892"/>
                </a:cubicBezTo>
                <a:cubicBezTo>
                  <a:pt x="109262" y="279679"/>
                  <a:pt x="98019" y="306789"/>
                  <a:pt x="107805" y="330445"/>
                </a:cubicBezTo>
                <a:cubicBezTo>
                  <a:pt x="117592" y="354099"/>
                  <a:pt x="144702" y="365342"/>
                  <a:pt x="168358" y="355557"/>
                </a:cubicBezTo>
                <a:cubicBezTo>
                  <a:pt x="192014" y="345770"/>
                  <a:pt x="203257" y="318660"/>
                  <a:pt x="193472" y="295004"/>
                </a:cubicBezTo>
                <a:cubicBezTo>
                  <a:pt x="188693" y="283455"/>
                  <a:pt x="179452" y="274323"/>
                  <a:pt x="167845" y="269683"/>
                </a:cubicBezTo>
                <a:cubicBezTo>
                  <a:pt x="165320" y="235169"/>
                  <a:pt x="136584" y="208455"/>
                  <a:pt x="101977" y="208451"/>
                </a:cubicBezTo>
                <a:lnTo>
                  <a:pt x="24104" y="208451"/>
                </a:lnTo>
                <a:cubicBezTo>
                  <a:pt x="27574" y="205581"/>
                  <a:pt x="31438" y="203224"/>
                  <a:pt x="35576" y="201451"/>
                </a:cubicBezTo>
                <a:cubicBezTo>
                  <a:pt x="33187" y="192936"/>
                  <a:pt x="31803" y="184169"/>
                  <a:pt x="31451" y="175331"/>
                </a:cubicBezTo>
                <a:cubicBezTo>
                  <a:pt x="30686" y="158296"/>
                  <a:pt x="33235" y="140566"/>
                  <a:pt x="38288" y="124783"/>
                </a:cubicBezTo>
                <a:cubicBezTo>
                  <a:pt x="43294" y="109255"/>
                  <a:pt x="51220" y="94120"/>
                  <a:pt x="62345" y="83668"/>
                </a:cubicBezTo>
                <a:cubicBezTo>
                  <a:pt x="69324" y="76868"/>
                  <a:pt x="78165" y="72294"/>
                  <a:pt x="87747" y="70526"/>
                </a:cubicBezTo>
                <a:cubicBezTo>
                  <a:pt x="92359" y="51058"/>
                  <a:pt x="104109" y="34974"/>
                  <a:pt x="119105" y="23316"/>
                </a:cubicBezTo>
                <a:cubicBezTo>
                  <a:pt x="138364" y="8297"/>
                  <a:pt x="163604" y="0"/>
                  <a:pt x="188635" y="0"/>
                </a:cubicBezTo>
                <a:close/>
                <a:moveTo>
                  <a:pt x="249149" y="347510"/>
                </a:moveTo>
                <a:lnTo>
                  <a:pt x="287390" y="347510"/>
                </a:lnTo>
                <a:cubicBezTo>
                  <a:pt x="323870" y="347510"/>
                  <a:pt x="353444" y="317937"/>
                  <a:pt x="353444" y="281457"/>
                </a:cubicBezTo>
                <a:lnTo>
                  <a:pt x="353444" y="239855"/>
                </a:lnTo>
                <a:cubicBezTo>
                  <a:pt x="377176" y="230255"/>
                  <a:pt x="388633" y="203234"/>
                  <a:pt x="379031" y="179502"/>
                </a:cubicBezTo>
                <a:cubicBezTo>
                  <a:pt x="369431" y="155770"/>
                  <a:pt x="342411" y="144314"/>
                  <a:pt x="318679" y="153914"/>
                </a:cubicBezTo>
                <a:cubicBezTo>
                  <a:pt x="294946" y="163514"/>
                  <a:pt x="283490" y="190535"/>
                  <a:pt x="293092" y="214266"/>
                </a:cubicBezTo>
                <a:cubicBezTo>
                  <a:pt x="297801" y="225912"/>
                  <a:pt x="307035" y="235145"/>
                  <a:pt x="318679" y="239855"/>
                </a:cubicBezTo>
                <a:lnTo>
                  <a:pt x="318679" y="281457"/>
                </a:lnTo>
                <a:cubicBezTo>
                  <a:pt x="318679" y="298737"/>
                  <a:pt x="304671" y="312745"/>
                  <a:pt x="287390" y="312745"/>
                </a:cubicBezTo>
                <a:lnTo>
                  <a:pt x="249149" y="312745"/>
                </a:lnTo>
                <a:lnTo>
                  <a:pt x="249149" y="32702"/>
                </a:lnTo>
                <a:cubicBezTo>
                  <a:pt x="249149" y="16316"/>
                  <a:pt x="258489" y="0"/>
                  <a:pt x="274875" y="0"/>
                </a:cubicBezTo>
                <a:cubicBezTo>
                  <a:pt x="299952" y="0"/>
                  <a:pt x="325168" y="8297"/>
                  <a:pt x="344428" y="23316"/>
                </a:cubicBezTo>
                <a:cubicBezTo>
                  <a:pt x="359423" y="34974"/>
                  <a:pt x="371174" y="51081"/>
                  <a:pt x="375786" y="70526"/>
                </a:cubicBezTo>
                <a:cubicBezTo>
                  <a:pt x="385520" y="72149"/>
                  <a:pt x="394188" y="77109"/>
                  <a:pt x="401187" y="83668"/>
                </a:cubicBezTo>
                <a:cubicBezTo>
                  <a:pt x="412312" y="94120"/>
                  <a:pt x="420239" y="109231"/>
                  <a:pt x="425245" y="124783"/>
                </a:cubicBezTo>
                <a:cubicBezTo>
                  <a:pt x="430297" y="140566"/>
                  <a:pt x="432847" y="158296"/>
                  <a:pt x="432082" y="175331"/>
                </a:cubicBezTo>
                <a:cubicBezTo>
                  <a:pt x="431688" y="184046"/>
                  <a:pt x="430413" y="192945"/>
                  <a:pt x="427956" y="201451"/>
                </a:cubicBezTo>
                <a:lnTo>
                  <a:pt x="429486" y="202147"/>
                </a:lnTo>
                <a:cubicBezTo>
                  <a:pt x="438061" y="206179"/>
                  <a:pt x="445014" y="212506"/>
                  <a:pt x="450206" y="220920"/>
                </a:cubicBezTo>
                <a:cubicBezTo>
                  <a:pt x="460056" y="236796"/>
                  <a:pt x="463533" y="259648"/>
                  <a:pt x="463533" y="288781"/>
                </a:cubicBezTo>
                <a:cubicBezTo>
                  <a:pt x="463533" y="322271"/>
                  <a:pt x="450739" y="345007"/>
                  <a:pt x="434284" y="359122"/>
                </a:cubicBezTo>
                <a:cubicBezTo>
                  <a:pt x="425713" y="366473"/>
                  <a:pt x="415680" y="371922"/>
                  <a:pt x="404849" y="375114"/>
                </a:cubicBezTo>
                <a:cubicBezTo>
                  <a:pt x="400912" y="393226"/>
                  <a:pt x="392828" y="410180"/>
                  <a:pt x="381232" y="424642"/>
                </a:cubicBezTo>
                <a:cubicBezTo>
                  <a:pt x="364476" y="445594"/>
                  <a:pt x="338448" y="463301"/>
                  <a:pt x="303428" y="463301"/>
                </a:cubicBezTo>
                <a:cubicBezTo>
                  <a:pt x="290832" y="463245"/>
                  <a:pt x="278435" y="460170"/>
                  <a:pt x="267273" y="454331"/>
                </a:cubicBezTo>
                <a:cubicBezTo>
                  <a:pt x="254989" y="448027"/>
                  <a:pt x="249149" y="434284"/>
                  <a:pt x="249149" y="420470"/>
                </a:cubicBezTo>
                <a:lnTo>
                  <a:pt x="249149" y="347510"/>
                </a:lnTo>
                <a:close/>
                <a:moveTo>
                  <a:pt x="139060" y="150509"/>
                </a:moveTo>
                <a:cubicBezTo>
                  <a:pt x="139060" y="144109"/>
                  <a:pt x="144248" y="138921"/>
                  <a:pt x="150648" y="138921"/>
                </a:cubicBezTo>
                <a:cubicBezTo>
                  <a:pt x="157048" y="138921"/>
                  <a:pt x="162236" y="144109"/>
                  <a:pt x="162236" y="150509"/>
                </a:cubicBezTo>
                <a:cubicBezTo>
                  <a:pt x="162236" y="156909"/>
                  <a:pt x="157048" y="162097"/>
                  <a:pt x="150648" y="162097"/>
                </a:cubicBezTo>
                <a:cubicBezTo>
                  <a:pt x="144248" y="162097"/>
                  <a:pt x="139060" y="156909"/>
                  <a:pt x="139060" y="150509"/>
                </a:cubicBezTo>
                <a:close/>
                <a:moveTo>
                  <a:pt x="150648" y="301157"/>
                </a:moveTo>
                <a:cubicBezTo>
                  <a:pt x="144248" y="301157"/>
                  <a:pt x="139060" y="306346"/>
                  <a:pt x="139060" y="312745"/>
                </a:cubicBezTo>
                <a:cubicBezTo>
                  <a:pt x="139060" y="319144"/>
                  <a:pt x="144248" y="324334"/>
                  <a:pt x="150648" y="324334"/>
                </a:cubicBezTo>
                <a:cubicBezTo>
                  <a:pt x="157048" y="324334"/>
                  <a:pt x="162236" y="319144"/>
                  <a:pt x="162236" y="312745"/>
                </a:cubicBezTo>
                <a:cubicBezTo>
                  <a:pt x="162236" y="306346"/>
                  <a:pt x="157048" y="301157"/>
                  <a:pt x="150648" y="301157"/>
                </a:cubicBezTo>
                <a:close/>
                <a:moveTo>
                  <a:pt x="324473" y="196862"/>
                </a:moveTo>
                <a:cubicBezTo>
                  <a:pt x="324473" y="203261"/>
                  <a:pt x="329662" y="208451"/>
                  <a:pt x="336061" y="208451"/>
                </a:cubicBezTo>
                <a:cubicBezTo>
                  <a:pt x="342460" y="208451"/>
                  <a:pt x="347649" y="203261"/>
                  <a:pt x="347649" y="196862"/>
                </a:cubicBezTo>
                <a:cubicBezTo>
                  <a:pt x="347649" y="190463"/>
                  <a:pt x="342460" y="185274"/>
                  <a:pt x="336061" y="185274"/>
                </a:cubicBezTo>
                <a:cubicBezTo>
                  <a:pt x="329662" y="185274"/>
                  <a:pt x="324473" y="190463"/>
                  <a:pt x="324473" y="196862"/>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5" name="Rectangle 4">
            <a:extLst>
              <a:ext uri="{FF2B5EF4-FFF2-40B4-BE49-F238E27FC236}">
                <a16:creationId xmlns:a16="http://schemas.microsoft.com/office/drawing/2014/main" id="{9E5C0280-ACF8-DE64-CB44-71C2E980A6E0}"/>
              </a:ext>
            </a:extLst>
          </p:cNvPr>
          <p:cNvSpPr/>
          <p:nvPr/>
        </p:nvSpPr>
        <p:spPr bwMode="auto">
          <a:xfrm>
            <a:off x="4453954" y="1687855"/>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B8D2786B-E83C-1DD3-2BE3-980D3DAC6F8A}"/>
              </a:ext>
            </a:extLst>
          </p:cNvPr>
          <p:cNvSpPr/>
          <p:nvPr/>
        </p:nvSpPr>
        <p:spPr bwMode="auto">
          <a:xfrm>
            <a:off x="530942" y="1688690"/>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6041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200"/>
                                  </p:stCondLst>
                                  <p:childTnLst>
                                    <p:animMotion origin="layout" path="M -3.54167E-6 -1.11111E-6 L -3.54167E-6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grpId="0" nodeType="withEffect">
                                  <p:stCondLst>
                                    <p:cond delay="4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400"/>
                                  </p:stCondLst>
                                  <p:childTnLst>
                                    <p:animMotion origin="layout" path="M -4.16667E-7 -1.11111E-6 L -4.16667E-7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grpId="0" nodeType="withEffect">
                                  <p:stCondLst>
                                    <p:cond delay="6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600"/>
                                  </p:stCondLst>
                                  <p:childTnLst>
                                    <p:animMotion origin="layout" path="M 2.5E-6 -1.11111E-6 L 2.5E-6 0.03542 " pathEditMode="relative" rAng="0" ptsTypes="AA">
                                      <p:cBhvr>
                                        <p:cTn id="19" dur="700" spd="-100000" fill="hold"/>
                                        <p:tgtEl>
                                          <p:spTgt spid="15"/>
                                        </p:tgtEl>
                                        <p:attrNameLst>
                                          <p:attrName>ppt_x</p:attrName>
                                          <p:attrName>ppt_y</p:attrName>
                                        </p:attrNameLst>
                                      </p:cBhvr>
                                      <p:rCtr x="0" y="1759"/>
                                    </p:animMotion>
                                  </p:childTnLst>
                                </p:cTn>
                              </p:par>
                              <p:par>
                                <p:cTn id="20" presetID="23" presetClass="entr" presetSubtype="16" fill="hold" grpId="0" nodeType="withEffect">
                                  <p:stCondLst>
                                    <p:cond delay="200"/>
                                  </p:stCondLst>
                                  <p:childTnLst>
                                    <p:set>
                                      <p:cBhvr>
                                        <p:cTn id="21" dur="1" fill="hold">
                                          <p:stCondLst>
                                            <p:cond delay="0"/>
                                          </p:stCondLst>
                                        </p:cTn>
                                        <p:tgtEl>
                                          <p:spTgt spid="16"/>
                                        </p:tgtEl>
                                        <p:attrNameLst>
                                          <p:attrName>style.visibility</p:attrName>
                                        </p:attrNameLst>
                                      </p:cBhvr>
                                      <p:to>
                                        <p:strVal val="visible"/>
                                      </p:to>
                                    </p:set>
                                    <p:anim calcmode="lin" valueType="num">
                                      <p:cBhvr>
                                        <p:cTn id="22" dur="400" fill="hold"/>
                                        <p:tgtEl>
                                          <p:spTgt spid="16"/>
                                        </p:tgtEl>
                                        <p:attrNameLst>
                                          <p:attrName>ppt_w</p:attrName>
                                        </p:attrNameLst>
                                      </p:cBhvr>
                                      <p:tavLst>
                                        <p:tav tm="0">
                                          <p:val>
                                            <p:fltVal val="0"/>
                                          </p:val>
                                        </p:tav>
                                        <p:tav tm="100000">
                                          <p:val>
                                            <p:strVal val="#ppt_w"/>
                                          </p:val>
                                        </p:tav>
                                      </p:tavLst>
                                    </p:anim>
                                    <p:anim calcmode="lin" valueType="num">
                                      <p:cBhvr>
                                        <p:cTn id="23" dur="400" fill="hold"/>
                                        <p:tgtEl>
                                          <p:spTgt spid="16"/>
                                        </p:tgtEl>
                                        <p:attrNameLst>
                                          <p:attrName>ppt_h</p:attrName>
                                        </p:attrNameLst>
                                      </p:cBhvr>
                                      <p:tavLst>
                                        <p:tav tm="0">
                                          <p:val>
                                            <p:fltVal val="0"/>
                                          </p:val>
                                        </p:tav>
                                        <p:tav tm="100000">
                                          <p:val>
                                            <p:strVal val="#ppt_h"/>
                                          </p:val>
                                        </p:tav>
                                      </p:tavLst>
                                    </p:anim>
                                  </p:childTnLst>
                                </p:cTn>
                              </p:par>
                              <p:par>
                                <p:cTn id="24" presetID="6" presetClass="emph" presetSubtype="0" accel="100000" autoRev="1" fill="hold" grpId="1" nodeType="withEffect">
                                  <p:stCondLst>
                                    <p:cond delay="200"/>
                                  </p:stCondLst>
                                  <p:childTnLst>
                                    <p:animScale>
                                      <p:cBhvr>
                                        <p:cTn id="25" dur="400" fill="hold"/>
                                        <p:tgtEl>
                                          <p:spTgt spid="16"/>
                                        </p:tgtEl>
                                      </p:cBhvr>
                                      <p:by x="110000" y="110000"/>
                                    </p:animScale>
                                  </p:childTnLst>
                                </p:cTn>
                              </p:par>
                              <p:par>
                                <p:cTn id="26" presetID="23" presetClass="entr" presetSubtype="16" fill="hold" grpId="0" nodeType="withEffect">
                                  <p:stCondLst>
                                    <p:cond delay="400"/>
                                  </p:stCondLst>
                                  <p:childTnLst>
                                    <p:set>
                                      <p:cBhvr>
                                        <p:cTn id="27" dur="1" fill="hold">
                                          <p:stCondLst>
                                            <p:cond delay="0"/>
                                          </p:stCondLst>
                                        </p:cTn>
                                        <p:tgtEl>
                                          <p:spTgt spid="18"/>
                                        </p:tgtEl>
                                        <p:attrNameLst>
                                          <p:attrName>style.visibility</p:attrName>
                                        </p:attrNameLst>
                                      </p:cBhvr>
                                      <p:to>
                                        <p:strVal val="visible"/>
                                      </p:to>
                                    </p:set>
                                    <p:anim calcmode="lin" valueType="num">
                                      <p:cBhvr>
                                        <p:cTn id="28" dur="400" fill="hold"/>
                                        <p:tgtEl>
                                          <p:spTgt spid="18"/>
                                        </p:tgtEl>
                                        <p:attrNameLst>
                                          <p:attrName>ppt_w</p:attrName>
                                        </p:attrNameLst>
                                      </p:cBhvr>
                                      <p:tavLst>
                                        <p:tav tm="0">
                                          <p:val>
                                            <p:fltVal val="0"/>
                                          </p:val>
                                        </p:tav>
                                        <p:tav tm="100000">
                                          <p:val>
                                            <p:strVal val="#ppt_w"/>
                                          </p:val>
                                        </p:tav>
                                      </p:tavLst>
                                    </p:anim>
                                    <p:anim calcmode="lin" valueType="num">
                                      <p:cBhvr>
                                        <p:cTn id="29" dur="400" fill="hold"/>
                                        <p:tgtEl>
                                          <p:spTgt spid="18"/>
                                        </p:tgtEl>
                                        <p:attrNameLst>
                                          <p:attrName>ppt_h</p:attrName>
                                        </p:attrNameLst>
                                      </p:cBhvr>
                                      <p:tavLst>
                                        <p:tav tm="0">
                                          <p:val>
                                            <p:fltVal val="0"/>
                                          </p:val>
                                        </p:tav>
                                        <p:tav tm="100000">
                                          <p:val>
                                            <p:strVal val="#ppt_h"/>
                                          </p:val>
                                        </p:tav>
                                      </p:tavLst>
                                    </p:anim>
                                  </p:childTnLst>
                                </p:cTn>
                              </p:par>
                              <p:par>
                                <p:cTn id="30" presetID="6" presetClass="emph" presetSubtype="0" accel="100000" autoRev="1" fill="hold" grpId="1" nodeType="withEffect">
                                  <p:stCondLst>
                                    <p:cond delay="400"/>
                                  </p:stCondLst>
                                  <p:childTnLst>
                                    <p:animScale>
                                      <p:cBhvr>
                                        <p:cTn id="31" dur="400" fill="hold"/>
                                        <p:tgtEl>
                                          <p:spTgt spid="18"/>
                                        </p:tgtEl>
                                      </p:cBhvr>
                                      <p:by x="110000" y="110000"/>
                                    </p:animScale>
                                  </p:childTnLst>
                                </p:cTn>
                              </p:par>
                              <p:par>
                                <p:cTn id="32" presetID="23" presetClass="entr" presetSubtype="16" fill="hold" grpId="0" nodeType="withEffect">
                                  <p:stCondLst>
                                    <p:cond delay="600"/>
                                  </p:stCondLst>
                                  <p:childTnLst>
                                    <p:set>
                                      <p:cBhvr>
                                        <p:cTn id="33" dur="1" fill="hold">
                                          <p:stCondLst>
                                            <p:cond delay="0"/>
                                          </p:stCondLst>
                                        </p:cTn>
                                        <p:tgtEl>
                                          <p:spTgt spid="17"/>
                                        </p:tgtEl>
                                        <p:attrNameLst>
                                          <p:attrName>style.visibility</p:attrName>
                                        </p:attrNameLst>
                                      </p:cBhvr>
                                      <p:to>
                                        <p:strVal val="visible"/>
                                      </p:to>
                                    </p:set>
                                    <p:anim calcmode="lin" valueType="num">
                                      <p:cBhvr>
                                        <p:cTn id="34" dur="400" fill="hold"/>
                                        <p:tgtEl>
                                          <p:spTgt spid="17"/>
                                        </p:tgtEl>
                                        <p:attrNameLst>
                                          <p:attrName>ppt_w</p:attrName>
                                        </p:attrNameLst>
                                      </p:cBhvr>
                                      <p:tavLst>
                                        <p:tav tm="0">
                                          <p:val>
                                            <p:fltVal val="0"/>
                                          </p:val>
                                        </p:tav>
                                        <p:tav tm="100000">
                                          <p:val>
                                            <p:strVal val="#ppt_w"/>
                                          </p:val>
                                        </p:tav>
                                      </p:tavLst>
                                    </p:anim>
                                    <p:anim calcmode="lin" valueType="num">
                                      <p:cBhvr>
                                        <p:cTn id="35" dur="400" fill="hold"/>
                                        <p:tgtEl>
                                          <p:spTgt spid="17"/>
                                        </p:tgtEl>
                                        <p:attrNameLst>
                                          <p:attrName>ppt_h</p:attrName>
                                        </p:attrNameLst>
                                      </p:cBhvr>
                                      <p:tavLst>
                                        <p:tav tm="0">
                                          <p:val>
                                            <p:fltVal val="0"/>
                                          </p:val>
                                        </p:tav>
                                        <p:tav tm="100000">
                                          <p:val>
                                            <p:strVal val="#ppt_h"/>
                                          </p:val>
                                        </p:tav>
                                      </p:tavLst>
                                    </p:anim>
                                  </p:childTnLst>
                                </p:cTn>
                              </p:par>
                              <p:par>
                                <p:cTn id="36" presetID="6" presetClass="emph" presetSubtype="0" accel="100000" autoRev="1" fill="hold" grpId="1" nodeType="withEffect">
                                  <p:stCondLst>
                                    <p:cond delay="600"/>
                                  </p:stCondLst>
                                  <p:childTnLst>
                                    <p:animScale>
                                      <p:cBhvr>
                                        <p:cTn id="37" dur="400" fill="hold"/>
                                        <p:tgtEl>
                                          <p:spTgt spid="1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21AC5E-EE70-F1F2-FEE6-54C1057E73F6}"/>
              </a:ext>
            </a:extLst>
          </p:cNvPr>
          <p:cNvSpPr/>
          <p:nvPr/>
        </p:nvSpPr>
        <p:spPr bwMode="auto">
          <a:xfrm>
            <a:off x="265471" y="243348"/>
            <a:ext cx="11776587" cy="6400800"/>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480C74C-62C5-8D87-EA95-37A440D935C7}"/>
              </a:ext>
            </a:extLst>
          </p:cNvPr>
          <p:cNvSpPr>
            <a:spLocks noGrp="1"/>
          </p:cNvSpPr>
          <p:nvPr>
            <p:ph type="title"/>
          </p:nvPr>
        </p:nvSpPr>
        <p:spPr>
          <a:xfrm>
            <a:off x="345262" y="1701469"/>
            <a:ext cx="4185972" cy="1477328"/>
          </a:xfrm>
        </p:spPr>
        <p:txBody>
          <a:bodyPr/>
          <a:lstStyle/>
          <a:p>
            <a:r>
              <a:rPr lang="en-US" sz="2400"/>
              <a:t>Retrieval-Augmented Generation</a:t>
            </a:r>
            <a:br>
              <a:rPr lang="en-US" sz="2400"/>
            </a:br>
            <a:br>
              <a:rPr lang="en-US" sz="2400" b="1" spc="0">
                <a:ln>
                  <a:noFill/>
                </a:ln>
                <a:gradFill flip="none" rotWithShape="1">
                  <a:gsLst>
                    <a:gs pos="12000">
                      <a:srgbClr val="D59ED7"/>
                    </a:gs>
                    <a:gs pos="86000">
                      <a:srgbClr val="8DC8E8"/>
                    </a:gs>
                  </a:gsLst>
                  <a:lin ang="10800000" scaled="1"/>
                  <a:tileRect/>
                </a:gradFill>
                <a:latin typeface="Segoe UI Semibold"/>
              </a:rPr>
            </a:br>
            <a:r>
              <a:rPr kumimoji="0" lang="en-US" sz="24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High-level Architecture</a:t>
            </a:r>
            <a:endParaRPr lang="en-US" sz="2400"/>
          </a:p>
        </p:txBody>
      </p:sp>
      <p:sp>
        <p:nvSpPr>
          <p:cNvPr id="88" name="Rectangle: Rounded Corners 87">
            <a:extLst>
              <a:ext uri="{FF2B5EF4-FFF2-40B4-BE49-F238E27FC236}">
                <a16:creationId xmlns:a16="http://schemas.microsoft.com/office/drawing/2014/main" id="{AD9B478D-FAA1-D9DD-7FDD-202DB51DAB5A}"/>
              </a:ext>
              <a:ext uri="{C183D7F6-B498-43B3-948B-1728B52AA6E4}">
                <adec:decorative xmlns:adec="http://schemas.microsoft.com/office/drawing/2017/decorative" val="1"/>
              </a:ext>
            </a:extLst>
          </p:cNvPr>
          <p:cNvSpPr/>
          <p:nvPr/>
        </p:nvSpPr>
        <p:spPr bwMode="auto">
          <a:xfrm>
            <a:off x="4325550" y="531488"/>
            <a:ext cx="7267012" cy="5740397"/>
          </a:xfrm>
          <a:prstGeom prst="roundRect">
            <a:avLst>
              <a:gd name="adj" fmla="val 1773"/>
            </a:avLst>
          </a:prstGeom>
          <a:solidFill>
            <a:srgbClr val="FFFFFF"/>
          </a:solidFill>
          <a:ln w="3175" cap="flat" cmpd="sng" algn="ctr">
            <a:solidFill>
              <a:srgbClr val="FFFFFF">
                <a:lumMod val="75000"/>
              </a:srgbClr>
            </a:solidFill>
            <a:prstDash val="solid"/>
            <a:headEnd type="none" w="med" len="med"/>
            <a:tailEnd type="none" w="med" len="med"/>
          </a:ln>
          <a:effectLst>
            <a:outerShdw blurRad="63500" dist="127000" dir="2700000" algn="ctr"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6" name="Oval 45">
            <a:extLst>
              <a:ext uri="{FF2B5EF4-FFF2-40B4-BE49-F238E27FC236}">
                <a16:creationId xmlns:a16="http://schemas.microsoft.com/office/drawing/2014/main" id="{9EFEBF0F-8A35-C973-FB4E-F9E79A0948C2}"/>
              </a:ext>
              <a:ext uri="{C183D7F6-B498-43B3-948B-1728B52AA6E4}">
                <adec:decorative xmlns:adec="http://schemas.microsoft.com/office/drawing/2017/decorative" val="1"/>
              </a:ext>
            </a:extLst>
          </p:cNvPr>
          <p:cNvSpPr/>
          <p:nvPr/>
        </p:nvSpPr>
        <p:spPr>
          <a:xfrm>
            <a:off x="4579100"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47" name="TextBox 46">
            <a:extLst>
              <a:ext uri="{FF2B5EF4-FFF2-40B4-BE49-F238E27FC236}">
                <a16:creationId xmlns:a16="http://schemas.microsoft.com/office/drawing/2014/main" id="{8DDBC4F3-9777-550B-0812-0FACE64D082D}"/>
              </a:ext>
              <a:ext uri="{C183D7F6-B498-43B3-948B-1728B52AA6E4}">
                <adec:decorative xmlns:adec="http://schemas.microsoft.com/office/drawing/2017/decorative" val="1"/>
              </a:ext>
            </a:extLst>
          </p:cNvPr>
          <p:cNvSpPr txBox="1"/>
          <p:nvPr/>
        </p:nvSpPr>
        <p:spPr>
          <a:xfrm>
            <a:off x="4603297" y="4242324"/>
            <a:ext cx="644407"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pp UX</a:t>
            </a:r>
          </a:p>
        </p:txBody>
      </p:sp>
      <p:sp>
        <p:nvSpPr>
          <p:cNvPr id="48" name="TextBox 47">
            <a:extLst>
              <a:ext uri="{FF2B5EF4-FFF2-40B4-BE49-F238E27FC236}">
                <a16:creationId xmlns:a16="http://schemas.microsoft.com/office/drawing/2014/main" id="{39C2ED4F-B771-78A0-47CD-18A9A4CF8A4F}"/>
              </a:ext>
              <a:ext uri="{C183D7F6-B498-43B3-948B-1728B52AA6E4}">
                <adec:decorative xmlns:adec="http://schemas.microsoft.com/office/drawing/2017/decorative" val="1"/>
              </a:ext>
            </a:extLst>
          </p:cNvPr>
          <p:cNvSpPr txBox="1"/>
          <p:nvPr/>
        </p:nvSpPr>
        <p:spPr>
          <a:xfrm>
            <a:off x="5486953" y="3361548"/>
            <a:ext cx="1128172" cy="184666"/>
          </a:xfrm>
          <a:prstGeom prst="rect">
            <a:avLst/>
          </a:prstGeom>
          <a:noFill/>
        </p:spPr>
        <p:txBody>
          <a:bodyPr wrap="squar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200" b="0" i="0" u="none" strike="noStrike" cap="none" spc="0" normalizeH="0" baseline="0">
                <a:ln>
                  <a:noFill/>
                </a:ln>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User question</a:t>
            </a:r>
          </a:p>
        </p:txBody>
      </p:sp>
      <p:cxnSp>
        <p:nvCxnSpPr>
          <p:cNvPr id="49" name="Straight Connector 48">
            <a:extLst>
              <a:ext uri="{FF2B5EF4-FFF2-40B4-BE49-F238E27FC236}">
                <a16:creationId xmlns:a16="http://schemas.microsoft.com/office/drawing/2014/main" id="{150C57DB-3D57-FF6D-F3CC-0564C86A5237}"/>
              </a:ext>
              <a:ext uri="{C183D7F6-B498-43B3-948B-1728B52AA6E4}">
                <adec:decorative xmlns:adec="http://schemas.microsoft.com/office/drawing/2017/decorative" val="1"/>
              </a:ext>
            </a:extLst>
          </p:cNvPr>
          <p:cNvCxnSpPr>
            <a:cxnSpLocks/>
          </p:cNvCxnSpPr>
          <p:nvPr/>
        </p:nvCxnSpPr>
        <p:spPr>
          <a:xfrm flipH="1" flipV="1">
            <a:off x="5508625" y="36576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6128A9DF-861E-09FB-6EBF-FA2B808BFCC8}"/>
              </a:ext>
              <a:ext uri="{C183D7F6-B498-43B3-948B-1728B52AA6E4}">
                <adec:decorative xmlns:adec="http://schemas.microsoft.com/office/drawing/2017/decorative" val="1"/>
              </a:ext>
            </a:extLst>
          </p:cNvPr>
          <p:cNvGrpSpPr/>
          <p:nvPr/>
        </p:nvGrpSpPr>
        <p:grpSpPr>
          <a:xfrm>
            <a:off x="5508625" y="3848100"/>
            <a:ext cx="1080000" cy="258026"/>
            <a:chOff x="5613400" y="3581400"/>
            <a:chExt cx="1080000" cy="258026"/>
          </a:xfrm>
        </p:grpSpPr>
        <p:cxnSp>
          <p:nvCxnSpPr>
            <p:cNvPr id="51" name="Straight Connector 50">
              <a:extLst>
                <a:ext uri="{FF2B5EF4-FFF2-40B4-BE49-F238E27FC236}">
                  <a16:creationId xmlns:a16="http://schemas.microsoft.com/office/drawing/2014/main" id="{920789C9-5B9B-C2F7-EF9D-06376DA5D000}"/>
                </a:ext>
              </a:extLst>
            </p:cNvPr>
            <p:cNvCxnSpPr>
              <a:cxnSpLocks/>
            </p:cNvCxnSpPr>
            <p:nvPr/>
          </p:nvCxnSpPr>
          <p:spPr>
            <a:xfrm>
              <a:off x="5613400" y="35814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A55FD1B-8CD3-031F-9F33-D825790C5673}"/>
                </a:ext>
              </a:extLst>
            </p:cNvPr>
            <p:cNvSpPr txBox="1"/>
            <p:nvPr/>
          </p:nvSpPr>
          <p:spPr>
            <a:xfrm>
              <a:off x="5775086" y="3654760"/>
              <a:ext cx="761456"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nswer</a:t>
              </a:r>
            </a:p>
          </p:txBody>
        </p:sp>
      </p:grpSp>
      <p:sp>
        <p:nvSpPr>
          <p:cNvPr id="53" name="TextBox 52">
            <a:extLst>
              <a:ext uri="{FF2B5EF4-FFF2-40B4-BE49-F238E27FC236}">
                <a16:creationId xmlns:a16="http://schemas.microsoft.com/office/drawing/2014/main" id="{673E7615-3F40-F63E-EF04-CE3289283B39}"/>
              </a:ext>
              <a:ext uri="{C183D7F6-B498-43B3-948B-1728B52AA6E4}">
                <adec:decorative xmlns:adec="http://schemas.microsoft.com/office/drawing/2017/decorative" val="1"/>
              </a:ext>
            </a:extLst>
          </p:cNvPr>
          <p:cNvSpPr txBox="1"/>
          <p:nvPr/>
        </p:nvSpPr>
        <p:spPr>
          <a:xfrm>
            <a:off x="6622053" y="4242324"/>
            <a:ext cx="1067793"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Orchestrator</a:t>
            </a:r>
          </a:p>
        </p:txBody>
      </p:sp>
      <p:cxnSp>
        <p:nvCxnSpPr>
          <p:cNvPr id="56" name="Straight Connector 55">
            <a:extLst>
              <a:ext uri="{FF2B5EF4-FFF2-40B4-BE49-F238E27FC236}">
                <a16:creationId xmlns:a16="http://schemas.microsoft.com/office/drawing/2014/main" id="{297A0EBA-5EA4-036F-E9AA-B7EBCBBF150D}"/>
              </a:ext>
              <a:ext uri="{C183D7F6-B498-43B3-948B-1728B52AA6E4}">
                <adec:decorative xmlns:adec="http://schemas.microsoft.com/office/drawing/2017/decorative" val="1"/>
              </a:ext>
            </a:extLst>
          </p:cNvPr>
          <p:cNvCxnSpPr>
            <a:cxnSpLocks/>
          </p:cNvCxnSpPr>
          <p:nvPr/>
        </p:nvCxnSpPr>
        <p:spPr>
          <a:xfrm>
            <a:off x="7058254"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E5581D1-59D5-09FB-E4B0-05FF518F934D}"/>
              </a:ext>
              <a:ext uri="{C183D7F6-B498-43B3-948B-1728B52AA6E4}">
                <adec:decorative xmlns:adec="http://schemas.microsoft.com/office/drawing/2017/decorative" val="1"/>
              </a:ext>
            </a:extLst>
          </p:cNvPr>
          <p:cNvCxnSpPr>
            <a:cxnSpLocks/>
          </p:cNvCxnSpPr>
          <p:nvPr/>
        </p:nvCxnSpPr>
        <p:spPr>
          <a:xfrm flipH="1" flipV="1">
            <a:off x="7251210"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A6E4270-F557-2C55-0181-F8376A661BB5}"/>
              </a:ext>
              <a:ext uri="{C183D7F6-B498-43B3-948B-1728B52AA6E4}">
                <adec:decorative xmlns:adec="http://schemas.microsoft.com/office/drawing/2017/decorative" val="1"/>
              </a:ext>
            </a:extLst>
          </p:cNvPr>
          <p:cNvCxnSpPr>
            <a:cxnSpLocks/>
          </p:cNvCxnSpPr>
          <p:nvPr/>
        </p:nvCxnSpPr>
        <p:spPr>
          <a:xfrm rot="2358803" flipH="1">
            <a:off x="7769225" y="47498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5AA1C83-41FE-1F65-556E-0466DA4F9393}"/>
              </a:ext>
              <a:ext uri="{C183D7F6-B498-43B3-948B-1728B52AA6E4}">
                <adec:decorative xmlns:adec="http://schemas.microsoft.com/office/drawing/2017/decorative" val="1"/>
              </a:ext>
            </a:extLst>
          </p:cNvPr>
          <p:cNvCxnSpPr>
            <a:cxnSpLocks/>
          </p:cNvCxnSpPr>
          <p:nvPr/>
        </p:nvCxnSpPr>
        <p:spPr>
          <a:xfrm rot="2358803" flipV="1">
            <a:off x="7896225" y="45974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E9EDFD52-B30B-C211-380B-96E57DE9B61E}"/>
              </a:ext>
              <a:ext uri="{C183D7F6-B498-43B3-948B-1728B52AA6E4}">
                <adec:decorative xmlns:adec="http://schemas.microsoft.com/office/drawing/2017/decorative" val="1"/>
              </a:ext>
            </a:extLst>
          </p:cNvPr>
          <p:cNvSpPr/>
          <p:nvPr/>
        </p:nvSpPr>
        <p:spPr>
          <a:xfrm>
            <a:off x="8964402" y="503509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70" name="TextBox 69">
            <a:extLst>
              <a:ext uri="{FF2B5EF4-FFF2-40B4-BE49-F238E27FC236}">
                <a16:creationId xmlns:a16="http://schemas.microsoft.com/office/drawing/2014/main" id="{27D3F5D9-E099-2572-B226-D828CBA2A31F}"/>
              </a:ext>
              <a:ext uri="{C183D7F6-B498-43B3-948B-1728B52AA6E4}">
                <adec:decorative xmlns:adec="http://schemas.microsoft.com/office/drawing/2017/decorative" val="1"/>
              </a:ext>
            </a:extLst>
          </p:cNvPr>
          <p:cNvSpPr txBox="1"/>
          <p:nvPr/>
        </p:nvSpPr>
        <p:spPr>
          <a:xfrm>
            <a:off x="6465376" y="1280219"/>
            <a:ext cx="1381147"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Retrieval system</a:t>
            </a:r>
          </a:p>
        </p:txBody>
      </p:sp>
      <p:sp>
        <p:nvSpPr>
          <p:cNvPr id="71" name="TextBox 70">
            <a:extLst>
              <a:ext uri="{FF2B5EF4-FFF2-40B4-BE49-F238E27FC236}">
                <a16:creationId xmlns:a16="http://schemas.microsoft.com/office/drawing/2014/main" id="{81ABDB1F-DDBC-E462-B7AB-246A5BD6B46D}"/>
              </a:ext>
              <a:ext uri="{C183D7F6-B498-43B3-948B-1728B52AA6E4}">
                <adec:decorative xmlns:adec="http://schemas.microsoft.com/office/drawing/2017/decorative" val="1"/>
              </a:ext>
            </a:extLst>
          </p:cNvPr>
          <p:cNvSpPr txBox="1"/>
          <p:nvPr/>
        </p:nvSpPr>
        <p:spPr>
          <a:xfrm>
            <a:off x="8352277" y="5822931"/>
            <a:ext cx="1927708"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Large Language Model</a:t>
            </a:r>
          </a:p>
        </p:txBody>
      </p:sp>
      <p:pic>
        <p:nvPicPr>
          <p:cNvPr id="72" name="Graphic 71">
            <a:extLst>
              <a:ext uri="{FF2B5EF4-FFF2-40B4-BE49-F238E27FC236}">
                <a16:creationId xmlns:a16="http://schemas.microsoft.com/office/drawing/2014/main" id="{1F990095-2EDD-3A46-9720-1E17EF3F3A1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15734" y="5186556"/>
            <a:ext cx="390138" cy="390138"/>
          </a:xfrm>
          <a:prstGeom prst="rect">
            <a:avLst/>
          </a:prstGeom>
          <a:effectLst/>
        </p:spPr>
      </p:pic>
      <p:grpSp>
        <p:nvGrpSpPr>
          <p:cNvPr id="73" name="Group 72">
            <a:extLst>
              <a:ext uri="{FF2B5EF4-FFF2-40B4-BE49-F238E27FC236}">
                <a16:creationId xmlns:a16="http://schemas.microsoft.com/office/drawing/2014/main" id="{41F81976-D4D5-DDAE-7C8D-EC4B86E4C097}"/>
              </a:ext>
              <a:ext uri="{C183D7F6-B498-43B3-948B-1728B52AA6E4}">
                <adec:decorative xmlns:adec="http://schemas.microsoft.com/office/drawing/2017/decorative" val="1"/>
              </a:ext>
            </a:extLst>
          </p:cNvPr>
          <p:cNvGrpSpPr/>
          <p:nvPr/>
        </p:nvGrpSpPr>
        <p:grpSpPr>
          <a:xfrm>
            <a:off x="6809548" y="1585792"/>
            <a:ext cx="692802" cy="693056"/>
            <a:chOff x="9069177" y="1367972"/>
            <a:chExt cx="692802" cy="693056"/>
          </a:xfrm>
        </p:grpSpPr>
        <p:sp>
          <p:nvSpPr>
            <p:cNvPr id="74" name="Oval 73">
              <a:extLst>
                <a:ext uri="{FF2B5EF4-FFF2-40B4-BE49-F238E27FC236}">
                  <a16:creationId xmlns:a16="http://schemas.microsoft.com/office/drawing/2014/main" id="{E0B51614-A462-D8DC-F2E1-91FA7C1C2B41}"/>
                </a:ext>
                <a:ext uri="{C183D7F6-B498-43B3-948B-1728B52AA6E4}">
                  <adec:decorative xmlns:adec="http://schemas.microsoft.com/office/drawing/2017/decorative" val="1"/>
                </a:ext>
              </a:extLst>
            </p:cNvPr>
            <p:cNvSpPr/>
            <p:nvPr/>
          </p:nvSpPr>
          <p:spPr>
            <a:xfrm>
              <a:off x="9069177" y="1367972"/>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75" name="Graphic 437806336">
              <a:extLst>
                <a:ext uri="{FF2B5EF4-FFF2-40B4-BE49-F238E27FC236}">
                  <a16:creationId xmlns:a16="http://schemas.microsoft.com/office/drawing/2014/main" id="{0A1E4D9A-7584-BA2E-EC3D-3A78063F22F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919" y="1520648"/>
              <a:ext cx="387320" cy="387704"/>
            </a:xfrm>
            <a:prstGeom prst="rect">
              <a:avLst/>
            </a:prstGeom>
          </p:spPr>
        </p:pic>
      </p:grpSp>
      <p:sp>
        <p:nvSpPr>
          <p:cNvPr id="76" name="Oval 75">
            <a:extLst>
              <a:ext uri="{FF2B5EF4-FFF2-40B4-BE49-F238E27FC236}">
                <a16:creationId xmlns:a16="http://schemas.microsoft.com/office/drawing/2014/main" id="{A407545F-9763-B3D4-F302-603F7AB40236}"/>
              </a:ext>
              <a:ext uri="{C183D7F6-B498-43B3-948B-1728B52AA6E4}">
                <adec:decorative xmlns:adec="http://schemas.microsoft.com/office/drawing/2017/decorative" val="1"/>
              </a:ext>
            </a:extLst>
          </p:cNvPr>
          <p:cNvSpPr/>
          <p:nvPr/>
        </p:nvSpPr>
        <p:spPr>
          <a:xfrm>
            <a:off x="6809548"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grpSp>
        <p:nvGrpSpPr>
          <p:cNvPr id="77" name="Group 76">
            <a:extLst>
              <a:ext uri="{FF2B5EF4-FFF2-40B4-BE49-F238E27FC236}">
                <a16:creationId xmlns:a16="http://schemas.microsoft.com/office/drawing/2014/main" id="{9F753382-B0B8-FE24-EB64-3F94490049BB}"/>
              </a:ext>
              <a:ext uri="{C183D7F6-B498-43B3-948B-1728B52AA6E4}">
                <adec:decorative xmlns:adec="http://schemas.microsoft.com/office/drawing/2017/decorative" val="1"/>
              </a:ext>
            </a:extLst>
          </p:cNvPr>
          <p:cNvGrpSpPr/>
          <p:nvPr/>
        </p:nvGrpSpPr>
        <p:grpSpPr>
          <a:xfrm>
            <a:off x="7025249" y="3668387"/>
            <a:ext cx="313764" cy="294658"/>
            <a:chOff x="4613480" y="3695901"/>
            <a:chExt cx="530461" cy="498156"/>
          </a:xfrm>
        </p:grpSpPr>
        <p:sp>
          <p:nvSpPr>
            <p:cNvPr id="78" name="Freeform: Shape 77">
              <a:extLst>
                <a:ext uri="{FF2B5EF4-FFF2-40B4-BE49-F238E27FC236}">
                  <a16:creationId xmlns:a16="http://schemas.microsoft.com/office/drawing/2014/main" id="{7BDE5D26-6F77-1758-5B3A-35AFE9D4021B}"/>
                </a:ext>
              </a:extLst>
            </p:cNvPr>
            <p:cNvSpPr/>
            <p:nvPr/>
          </p:nvSpPr>
          <p:spPr>
            <a:xfrm>
              <a:off x="4613480" y="3695901"/>
              <a:ext cx="530461" cy="498156"/>
            </a:xfrm>
            <a:custGeom>
              <a:avLst/>
              <a:gdLst>
                <a:gd name="connsiteX0" fmla="*/ 347077 w 359154"/>
                <a:gd name="connsiteY0" fmla="*/ 0 h 240030"/>
                <a:gd name="connsiteX1" fmla="*/ 359155 w 359154"/>
                <a:gd name="connsiteY1" fmla="*/ 0 h 240030"/>
                <a:gd name="connsiteX2" fmla="*/ 359155 w 359154"/>
                <a:gd name="connsiteY2" fmla="*/ 240030 h 240030"/>
                <a:gd name="connsiteX3" fmla="*/ 347077 w 359154"/>
                <a:gd name="connsiteY3" fmla="*/ 240030 h 240030"/>
                <a:gd name="connsiteX4" fmla="*/ 12078 w 359154"/>
                <a:gd name="connsiteY4" fmla="*/ 240030 h 240030"/>
                <a:gd name="connsiteX5" fmla="*/ 0 w 359154"/>
                <a:gd name="connsiteY5" fmla="*/ 240030 h 240030"/>
                <a:gd name="connsiteX6" fmla="*/ 0 w 359154"/>
                <a:gd name="connsiteY6" fmla="*/ 0 h 240030"/>
                <a:gd name="connsiteX7" fmla="*/ 12078 w 359154"/>
                <a:gd name="connsiteY7" fmla="*/ 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154" h="240030">
                  <a:moveTo>
                    <a:pt x="347077" y="0"/>
                  </a:moveTo>
                  <a:cubicBezTo>
                    <a:pt x="353747" y="0"/>
                    <a:pt x="359155" y="0"/>
                    <a:pt x="359155" y="0"/>
                  </a:cubicBezTo>
                  <a:lnTo>
                    <a:pt x="359155" y="240030"/>
                  </a:lnTo>
                  <a:cubicBezTo>
                    <a:pt x="359155" y="240030"/>
                    <a:pt x="353747" y="240030"/>
                    <a:pt x="347077" y="240030"/>
                  </a:cubicBezTo>
                  <a:lnTo>
                    <a:pt x="12078" y="240030"/>
                  </a:lnTo>
                  <a:cubicBezTo>
                    <a:pt x="5408" y="240030"/>
                    <a:pt x="0" y="240030"/>
                    <a:pt x="0" y="240030"/>
                  </a:cubicBezTo>
                  <a:lnTo>
                    <a:pt x="0" y="0"/>
                  </a:lnTo>
                  <a:cubicBezTo>
                    <a:pt x="0" y="0"/>
                    <a:pt x="5408" y="0"/>
                    <a:pt x="12078" y="0"/>
                  </a:cubicBezTo>
                  <a:close/>
                </a:path>
              </a:pathLst>
            </a:custGeom>
            <a:solidFill>
              <a:srgbClr val="0078D4"/>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3FA1BCF-2A7C-CACB-39DB-9761E7E8D7F8}"/>
                </a:ext>
              </a:extLst>
            </p:cNvPr>
            <p:cNvGrpSpPr/>
            <p:nvPr/>
          </p:nvGrpSpPr>
          <p:grpSpPr>
            <a:xfrm>
              <a:off x="4790300" y="3826612"/>
              <a:ext cx="176820" cy="236734"/>
              <a:chOff x="4790300" y="3799961"/>
              <a:chExt cx="176820" cy="290773"/>
            </a:xfrm>
          </p:grpSpPr>
          <p:sp>
            <p:nvSpPr>
              <p:cNvPr id="80" name="Freeform: Shape 79">
                <a:extLst>
                  <a:ext uri="{FF2B5EF4-FFF2-40B4-BE49-F238E27FC236}">
                    <a16:creationId xmlns:a16="http://schemas.microsoft.com/office/drawing/2014/main" id="{A9F0F17E-17AD-8677-4771-9AA70003D8D5}"/>
                  </a:ext>
                </a:extLst>
              </p:cNvPr>
              <p:cNvSpPr/>
              <p:nvPr/>
            </p:nvSpPr>
            <p:spPr>
              <a:xfrm>
                <a:off x="4878973" y="3873023"/>
                <a:ext cx="88147" cy="217711"/>
              </a:xfrm>
              <a:custGeom>
                <a:avLst/>
                <a:gdLst>
                  <a:gd name="connsiteX0" fmla="*/ 59682 w 59681"/>
                  <a:gd name="connsiteY0" fmla="*/ 0 h 104901"/>
                  <a:gd name="connsiteX1" fmla="*/ 59682 w 59681"/>
                  <a:gd name="connsiteY1" fmla="*/ 69698 h 104901"/>
                  <a:gd name="connsiteX2" fmla="*/ 0 w 59681"/>
                  <a:gd name="connsiteY2" fmla="*/ 104902 h 104901"/>
                  <a:gd name="connsiteX3" fmla="*/ 0 w 59681"/>
                  <a:gd name="connsiteY3" fmla="*/ 34849 h 104901"/>
                  <a:gd name="connsiteX4" fmla="*/ 59682 w 59681"/>
                  <a:gd name="connsiteY4" fmla="*/ 0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81" h="104901">
                    <a:moveTo>
                      <a:pt x="59682" y="0"/>
                    </a:moveTo>
                    <a:lnTo>
                      <a:pt x="59682" y="69698"/>
                    </a:lnTo>
                    <a:lnTo>
                      <a:pt x="0" y="104902"/>
                    </a:lnTo>
                    <a:lnTo>
                      <a:pt x="0" y="34849"/>
                    </a:lnTo>
                    <a:lnTo>
                      <a:pt x="59682" y="0"/>
                    </a:lnTo>
                    <a:close/>
                  </a:path>
                </a:pathLst>
              </a:custGeom>
              <a:solidFill>
                <a:srgbClr val="50E6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261E7887-7E3F-FD36-BFD6-41B521EA3AAE}"/>
                  </a:ext>
                </a:extLst>
              </p:cNvPr>
              <p:cNvSpPr/>
              <p:nvPr/>
            </p:nvSpPr>
            <p:spPr>
              <a:xfrm>
                <a:off x="4790300" y="3799961"/>
                <a:ext cx="176820" cy="145387"/>
              </a:xfrm>
              <a:custGeom>
                <a:avLst/>
                <a:gdLst>
                  <a:gd name="connsiteX0" fmla="*/ 119718 w 119718"/>
                  <a:gd name="connsiteY0" fmla="*/ 35204 h 70053"/>
                  <a:gd name="connsiteX1" fmla="*/ 60037 w 119718"/>
                  <a:gd name="connsiteY1" fmla="*/ 70053 h 70053"/>
                  <a:gd name="connsiteX2" fmla="*/ 0 w 119718"/>
                  <a:gd name="connsiteY2" fmla="*/ 35204 h 70053"/>
                  <a:gd name="connsiteX3" fmla="*/ 60037 w 119718"/>
                  <a:gd name="connsiteY3" fmla="*/ 0 h 70053"/>
                  <a:gd name="connsiteX4" fmla="*/ 119718 w 119718"/>
                  <a:gd name="connsiteY4" fmla="*/ 35204 h 70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18" h="70053">
                    <a:moveTo>
                      <a:pt x="119718" y="35204"/>
                    </a:moveTo>
                    <a:lnTo>
                      <a:pt x="60037" y="70053"/>
                    </a:lnTo>
                    <a:lnTo>
                      <a:pt x="0" y="35204"/>
                    </a:lnTo>
                    <a:lnTo>
                      <a:pt x="60037" y="0"/>
                    </a:lnTo>
                    <a:lnTo>
                      <a:pt x="119718" y="35204"/>
                    </a:lnTo>
                    <a:close/>
                  </a:path>
                </a:pathLst>
              </a:custGeom>
              <a:solidFill>
                <a:srgbClr val="C3F1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224F962D-EDFC-4537-69E5-0D7EF04527AA}"/>
                  </a:ext>
                </a:extLst>
              </p:cNvPr>
              <p:cNvSpPr/>
              <p:nvPr/>
            </p:nvSpPr>
            <p:spPr>
              <a:xfrm>
                <a:off x="4790300" y="3873023"/>
                <a:ext cx="88672" cy="217711"/>
              </a:xfrm>
              <a:custGeom>
                <a:avLst/>
                <a:gdLst>
                  <a:gd name="connsiteX0" fmla="*/ 60037 w 60036"/>
                  <a:gd name="connsiteY0" fmla="*/ 34849 h 104901"/>
                  <a:gd name="connsiteX1" fmla="*/ 60037 w 60036"/>
                  <a:gd name="connsiteY1" fmla="*/ 104902 h 104901"/>
                  <a:gd name="connsiteX2" fmla="*/ 0 w 60036"/>
                  <a:gd name="connsiteY2" fmla="*/ 69698 h 104901"/>
                  <a:gd name="connsiteX3" fmla="*/ 0 w 60036"/>
                  <a:gd name="connsiteY3" fmla="*/ 0 h 104901"/>
                  <a:gd name="connsiteX4" fmla="*/ 60037 w 60036"/>
                  <a:gd name="connsiteY4" fmla="*/ 34849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36" h="104901">
                    <a:moveTo>
                      <a:pt x="60037" y="34849"/>
                    </a:moveTo>
                    <a:lnTo>
                      <a:pt x="60037" y="104902"/>
                    </a:lnTo>
                    <a:lnTo>
                      <a:pt x="0" y="69698"/>
                    </a:lnTo>
                    <a:lnTo>
                      <a:pt x="0" y="0"/>
                    </a:lnTo>
                    <a:lnTo>
                      <a:pt x="60037" y="34849"/>
                    </a:lnTo>
                    <a:close/>
                  </a:path>
                </a:pathLst>
              </a:custGeom>
              <a:solidFill>
                <a:srgbClr val="9CEB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3" name="Group 82">
            <a:extLst>
              <a:ext uri="{FF2B5EF4-FFF2-40B4-BE49-F238E27FC236}">
                <a16:creationId xmlns:a16="http://schemas.microsoft.com/office/drawing/2014/main" id="{03EB5E34-46CC-3F2E-3F3C-345A3E74ACBA}"/>
              </a:ext>
              <a:ext uri="{C183D7F6-B498-43B3-948B-1728B52AA6E4}">
                <adec:decorative xmlns:adec="http://schemas.microsoft.com/office/drawing/2017/decorative" val="1"/>
              </a:ext>
            </a:extLst>
          </p:cNvPr>
          <p:cNvGrpSpPr/>
          <p:nvPr/>
        </p:nvGrpSpPr>
        <p:grpSpPr>
          <a:xfrm>
            <a:off x="4816553" y="3618230"/>
            <a:ext cx="217896" cy="394970"/>
            <a:chOff x="4750841" y="990685"/>
            <a:chExt cx="2690317" cy="4876618"/>
          </a:xfrm>
        </p:grpSpPr>
        <p:sp>
          <p:nvSpPr>
            <p:cNvPr id="84" name="Freeform: Shape 83">
              <a:extLst>
                <a:ext uri="{FF2B5EF4-FFF2-40B4-BE49-F238E27FC236}">
                  <a16:creationId xmlns:a16="http://schemas.microsoft.com/office/drawing/2014/main" id="{8004B47B-481F-FE3E-A098-84F15EA84771}"/>
                </a:ext>
              </a:extLst>
            </p:cNvPr>
            <p:cNvSpPr/>
            <p:nvPr/>
          </p:nvSpPr>
          <p:spPr>
            <a:xfrm>
              <a:off x="4750841" y="990685"/>
              <a:ext cx="2690317" cy="4876618"/>
            </a:xfrm>
            <a:custGeom>
              <a:avLst/>
              <a:gdLst>
                <a:gd name="connsiteX0" fmla="*/ 2363533 w 2690317"/>
                <a:gd name="connsiteY0" fmla="*/ 0 h 4876618"/>
                <a:gd name="connsiteX1" fmla="*/ 326784 w 2690317"/>
                <a:gd name="connsiteY1" fmla="*/ 0 h 4876618"/>
                <a:gd name="connsiteX2" fmla="*/ 0 w 2690317"/>
                <a:gd name="connsiteY2" fmla="*/ 326784 h 4876618"/>
                <a:gd name="connsiteX3" fmla="*/ 0 w 2690317"/>
                <a:gd name="connsiteY3" fmla="*/ 4549836 h 4876618"/>
                <a:gd name="connsiteX4" fmla="*/ 326784 w 2690317"/>
                <a:gd name="connsiteY4" fmla="*/ 4876619 h 4876618"/>
                <a:gd name="connsiteX5" fmla="*/ 2363533 w 2690317"/>
                <a:gd name="connsiteY5" fmla="*/ 4876619 h 4876618"/>
                <a:gd name="connsiteX6" fmla="*/ 2690317 w 2690317"/>
                <a:gd name="connsiteY6" fmla="*/ 4549836 h 4876618"/>
                <a:gd name="connsiteX7" fmla="*/ 2690317 w 2690317"/>
                <a:gd name="connsiteY7" fmla="*/ 326784 h 4876618"/>
                <a:gd name="connsiteX8" fmla="*/ 2363533 w 2690317"/>
                <a:gd name="connsiteY8" fmla="*/ 0 h 4876618"/>
                <a:gd name="connsiteX9" fmla="*/ 326784 w 2690317"/>
                <a:gd name="connsiteY9" fmla="*/ 150828 h 4876618"/>
                <a:gd name="connsiteX10" fmla="*/ 2363533 w 2690317"/>
                <a:gd name="connsiteY10" fmla="*/ 150828 h 4876618"/>
                <a:gd name="connsiteX11" fmla="*/ 2539499 w 2690317"/>
                <a:gd name="connsiteY11" fmla="*/ 326793 h 4876618"/>
                <a:gd name="connsiteX12" fmla="*/ 2539499 w 2690317"/>
                <a:gd name="connsiteY12" fmla="*/ 4016931 h 4876618"/>
                <a:gd name="connsiteX13" fmla="*/ 150819 w 2690317"/>
                <a:gd name="connsiteY13" fmla="*/ 4016931 h 4876618"/>
                <a:gd name="connsiteX14" fmla="*/ 150819 w 2690317"/>
                <a:gd name="connsiteY14" fmla="*/ 326784 h 4876618"/>
                <a:gd name="connsiteX15" fmla="*/ 326784 w 2690317"/>
                <a:gd name="connsiteY15" fmla="*/ 150828 h 4876618"/>
                <a:gd name="connsiteX16" fmla="*/ 1206141 w 2690317"/>
                <a:gd name="connsiteY16" fmla="*/ 4409075 h 4876618"/>
                <a:gd name="connsiteX17" fmla="*/ 1345406 w 2690317"/>
                <a:gd name="connsiteY17" fmla="*/ 4269810 h 4876618"/>
                <a:gd name="connsiteX18" fmla="*/ 1484166 w 2690317"/>
                <a:gd name="connsiteY18" fmla="*/ 4409075 h 4876618"/>
                <a:gd name="connsiteX19" fmla="*/ 1345406 w 2690317"/>
                <a:gd name="connsiteY19" fmla="*/ 4548330 h 4876618"/>
                <a:gd name="connsiteX20" fmla="*/ 1206141 w 2690317"/>
                <a:gd name="connsiteY20" fmla="*/ 4409075 h 487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90317" h="4876618">
                  <a:moveTo>
                    <a:pt x="2363533" y="0"/>
                  </a:moveTo>
                  <a:lnTo>
                    <a:pt x="326784" y="0"/>
                  </a:lnTo>
                  <a:cubicBezTo>
                    <a:pt x="146599" y="0"/>
                    <a:pt x="0" y="146599"/>
                    <a:pt x="0" y="326784"/>
                  </a:cubicBezTo>
                  <a:lnTo>
                    <a:pt x="0" y="4549836"/>
                  </a:lnTo>
                  <a:cubicBezTo>
                    <a:pt x="0" y="4730020"/>
                    <a:pt x="146599" y="4876619"/>
                    <a:pt x="326784" y="4876619"/>
                  </a:cubicBezTo>
                  <a:lnTo>
                    <a:pt x="2363533" y="4876619"/>
                  </a:lnTo>
                  <a:cubicBezTo>
                    <a:pt x="2543718" y="4876619"/>
                    <a:pt x="2690317" y="4730020"/>
                    <a:pt x="2690317" y="4549836"/>
                  </a:cubicBezTo>
                  <a:lnTo>
                    <a:pt x="2690317" y="326784"/>
                  </a:lnTo>
                  <a:cubicBezTo>
                    <a:pt x="2690317" y="146609"/>
                    <a:pt x="2543718" y="0"/>
                    <a:pt x="2363533" y="0"/>
                  </a:cubicBezTo>
                  <a:close/>
                  <a:moveTo>
                    <a:pt x="326784" y="150828"/>
                  </a:moveTo>
                  <a:lnTo>
                    <a:pt x="2363533" y="150828"/>
                  </a:lnTo>
                  <a:cubicBezTo>
                    <a:pt x="2460546" y="150828"/>
                    <a:pt x="2539499" y="229772"/>
                    <a:pt x="2539499" y="326793"/>
                  </a:cubicBezTo>
                  <a:lnTo>
                    <a:pt x="2539499" y="4016931"/>
                  </a:lnTo>
                  <a:lnTo>
                    <a:pt x="150819" y="4016931"/>
                  </a:lnTo>
                  <a:lnTo>
                    <a:pt x="150819" y="326784"/>
                  </a:lnTo>
                  <a:cubicBezTo>
                    <a:pt x="150819" y="229772"/>
                    <a:pt x="229772" y="150828"/>
                    <a:pt x="326784" y="150828"/>
                  </a:cubicBezTo>
                  <a:close/>
                  <a:moveTo>
                    <a:pt x="1206141" y="4409075"/>
                  </a:moveTo>
                  <a:cubicBezTo>
                    <a:pt x="1206141" y="4332151"/>
                    <a:pt x="1267978" y="4269810"/>
                    <a:pt x="1345406" y="4269810"/>
                  </a:cubicBezTo>
                  <a:cubicBezTo>
                    <a:pt x="1422330" y="4269810"/>
                    <a:pt x="1484166" y="4332151"/>
                    <a:pt x="1484166" y="4409075"/>
                  </a:cubicBezTo>
                  <a:cubicBezTo>
                    <a:pt x="1484166" y="4485990"/>
                    <a:pt x="1422330" y="4548330"/>
                    <a:pt x="1345406" y="4548330"/>
                  </a:cubicBezTo>
                  <a:cubicBezTo>
                    <a:pt x="1267978" y="4548330"/>
                    <a:pt x="1206141" y="4485990"/>
                    <a:pt x="1206141" y="4409075"/>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5" name="Freeform: Shape 84">
              <a:extLst>
                <a:ext uri="{FF2B5EF4-FFF2-40B4-BE49-F238E27FC236}">
                  <a16:creationId xmlns:a16="http://schemas.microsoft.com/office/drawing/2014/main" id="{4FC1A538-6A28-E64D-EBC8-A2403A891E77}"/>
                </a:ext>
              </a:extLst>
            </p:cNvPr>
            <p:cNvSpPr/>
            <p:nvPr/>
          </p:nvSpPr>
          <p:spPr>
            <a:xfrm>
              <a:off x="5674213" y="1392888"/>
              <a:ext cx="843591" cy="150818"/>
            </a:xfrm>
            <a:custGeom>
              <a:avLst/>
              <a:gdLst>
                <a:gd name="connsiteX0" fmla="*/ 768182 w 843591"/>
                <a:gd name="connsiteY0" fmla="*/ 150819 h 150818"/>
                <a:gd name="connsiteX1" fmla="*/ 75409 w 843591"/>
                <a:gd name="connsiteY1" fmla="*/ 150819 h 150818"/>
                <a:gd name="connsiteX2" fmla="*/ 0 w 843591"/>
                <a:gd name="connsiteY2" fmla="*/ 75409 h 150818"/>
                <a:gd name="connsiteX3" fmla="*/ 75409 w 843591"/>
                <a:gd name="connsiteY3" fmla="*/ 0 h 150818"/>
                <a:gd name="connsiteX4" fmla="*/ 768182 w 843591"/>
                <a:gd name="connsiteY4" fmla="*/ 0 h 150818"/>
                <a:gd name="connsiteX5" fmla="*/ 843591 w 843591"/>
                <a:gd name="connsiteY5" fmla="*/ 75409 h 150818"/>
                <a:gd name="connsiteX6" fmla="*/ 768182 w 843591"/>
                <a:gd name="connsiteY6" fmla="*/ 150819 h 15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591" h="150818">
                  <a:moveTo>
                    <a:pt x="768182" y="150819"/>
                  </a:moveTo>
                  <a:lnTo>
                    <a:pt x="75409" y="150819"/>
                  </a:lnTo>
                  <a:cubicBezTo>
                    <a:pt x="33747" y="150819"/>
                    <a:pt x="0" y="117062"/>
                    <a:pt x="0" y="75409"/>
                  </a:cubicBezTo>
                  <a:cubicBezTo>
                    <a:pt x="0" y="33757"/>
                    <a:pt x="33757" y="0"/>
                    <a:pt x="75409" y="0"/>
                  </a:cubicBezTo>
                  <a:lnTo>
                    <a:pt x="768182" y="0"/>
                  </a:lnTo>
                  <a:cubicBezTo>
                    <a:pt x="809844" y="0"/>
                    <a:pt x="843591" y="33757"/>
                    <a:pt x="843591" y="75409"/>
                  </a:cubicBezTo>
                  <a:cubicBezTo>
                    <a:pt x="843591" y="117062"/>
                    <a:pt x="809844" y="150819"/>
                    <a:pt x="768182" y="150819"/>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6" name="Freeform: Shape 85">
              <a:extLst>
                <a:ext uri="{FF2B5EF4-FFF2-40B4-BE49-F238E27FC236}">
                  <a16:creationId xmlns:a16="http://schemas.microsoft.com/office/drawing/2014/main" id="{15549D11-F1A1-97E3-D883-0C78CACD413D}"/>
                </a:ext>
              </a:extLst>
            </p:cNvPr>
            <p:cNvSpPr/>
            <p:nvPr/>
          </p:nvSpPr>
          <p:spPr>
            <a:xfrm>
              <a:off x="5444947" y="2455687"/>
              <a:ext cx="1302105" cy="1302105"/>
            </a:xfrm>
            <a:custGeom>
              <a:avLst/>
              <a:gdLst>
                <a:gd name="connsiteX0" fmla="*/ 651053 w 1302105"/>
                <a:gd name="connsiteY0" fmla="*/ 0 h 1302105"/>
                <a:gd name="connsiteX1" fmla="*/ 0 w 1302105"/>
                <a:gd name="connsiteY1" fmla="*/ 651053 h 1302105"/>
                <a:gd name="connsiteX2" fmla="*/ 651053 w 1302105"/>
                <a:gd name="connsiteY2" fmla="*/ 1302106 h 1302105"/>
                <a:gd name="connsiteX3" fmla="*/ 1302106 w 1302105"/>
                <a:gd name="connsiteY3" fmla="*/ 651053 h 1302105"/>
                <a:gd name="connsiteX4" fmla="*/ 651053 w 1302105"/>
                <a:gd name="connsiteY4" fmla="*/ 0 h 1302105"/>
                <a:gd name="connsiteX5" fmla="*/ 913619 w 1302105"/>
                <a:gd name="connsiteY5" fmla="*/ 554917 h 1302105"/>
                <a:gd name="connsiteX6" fmla="*/ 614677 w 1302105"/>
                <a:gd name="connsiteY6" fmla="*/ 853859 h 1302105"/>
                <a:gd name="connsiteX7" fmla="*/ 508044 w 1302105"/>
                <a:gd name="connsiteY7" fmla="*/ 853859 h 1302105"/>
                <a:gd name="connsiteX8" fmla="*/ 388496 w 1302105"/>
                <a:gd name="connsiteY8" fmla="*/ 734330 h 1302105"/>
                <a:gd name="connsiteX9" fmla="*/ 388496 w 1302105"/>
                <a:gd name="connsiteY9" fmla="*/ 627697 h 1302105"/>
                <a:gd name="connsiteX10" fmla="*/ 495129 w 1302105"/>
                <a:gd name="connsiteY10" fmla="*/ 627697 h 1302105"/>
                <a:gd name="connsiteX11" fmla="*/ 561356 w 1302105"/>
                <a:gd name="connsiteY11" fmla="*/ 693906 h 1302105"/>
                <a:gd name="connsiteX12" fmla="*/ 806987 w 1302105"/>
                <a:gd name="connsiteY12" fmla="*/ 448275 h 1302105"/>
                <a:gd name="connsiteX13" fmla="*/ 913619 w 1302105"/>
                <a:gd name="connsiteY13" fmla="*/ 448275 h 1302105"/>
                <a:gd name="connsiteX14" fmla="*/ 913619 w 1302105"/>
                <a:gd name="connsiteY14" fmla="*/ 554917 h 130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2105" h="1302105">
                  <a:moveTo>
                    <a:pt x="651053" y="0"/>
                  </a:moveTo>
                  <a:cubicBezTo>
                    <a:pt x="292094" y="0"/>
                    <a:pt x="0" y="292094"/>
                    <a:pt x="0" y="651053"/>
                  </a:cubicBezTo>
                  <a:cubicBezTo>
                    <a:pt x="0" y="1010012"/>
                    <a:pt x="292094" y="1302106"/>
                    <a:pt x="651053" y="1302106"/>
                  </a:cubicBezTo>
                  <a:cubicBezTo>
                    <a:pt x="1010012" y="1302106"/>
                    <a:pt x="1302106" y="1010012"/>
                    <a:pt x="1302106" y="651053"/>
                  </a:cubicBezTo>
                  <a:cubicBezTo>
                    <a:pt x="1302106" y="292094"/>
                    <a:pt x="1010012" y="0"/>
                    <a:pt x="651053" y="0"/>
                  </a:cubicBezTo>
                  <a:close/>
                  <a:moveTo>
                    <a:pt x="913619" y="554917"/>
                  </a:moveTo>
                  <a:lnTo>
                    <a:pt x="614677" y="853859"/>
                  </a:lnTo>
                  <a:cubicBezTo>
                    <a:pt x="585216" y="883320"/>
                    <a:pt x="537496" y="883320"/>
                    <a:pt x="508044" y="853859"/>
                  </a:cubicBezTo>
                  <a:lnTo>
                    <a:pt x="388496" y="734330"/>
                  </a:lnTo>
                  <a:cubicBezTo>
                    <a:pt x="359035" y="704898"/>
                    <a:pt x="359035" y="657149"/>
                    <a:pt x="388496" y="627697"/>
                  </a:cubicBezTo>
                  <a:cubicBezTo>
                    <a:pt x="417909" y="598237"/>
                    <a:pt x="465677" y="598237"/>
                    <a:pt x="495129" y="627697"/>
                  </a:cubicBezTo>
                  <a:lnTo>
                    <a:pt x="561356" y="693906"/>
                  </a:lnTo>
                  <a:lnTo>
                    <a:pt x="806987" y="448275"/>
                  </a:lnTo>
                  <a:cubicBezTo>
                    <a:pt x="836447" y="418814"/>
                    <a:pt x="884168" y="418814"/>
                    <a:pt x="913619" y="448275"/>
                  </a:cubicBezTo>
                  <a:cubicBezTo>
                    <a:pt x="943080" y="477707"/>
                    <a:pt x="943080" y="525485"/>
                    <a:pt x="913619" y="554917"/>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grpSp>
      <p:grpSp>
        <p:nvGrpSpPr>
          <p:cNvPr id="100" name="Group 99">
            <a:extLst>
              <a:ext uri="{FF2B5EF4-FFF2-40B4-BE49-F238E27FC236}">
                <a16:creationId xmlns:a16="http://schemas.microsoft.com/office/drawing/2014/main" id="{F93994F5-0C43-34EF-874E-42C908B667C4}"/>
              </a:ext>
              <a:ext uri="{C183D7F6-B498-43B3-948B-1728B52AA6E4}">
                <adec:decorative xmlns:adec="http://schemas.microsoft.com/office/drawing/2017/decorative" val="1"/>
              </a:ext>
            </a:extLst>
          </p:cNvPr>
          <p:cNvGrpSpPr/>
          <p:nvPr/>
        </p:nvGrpSpPr>
        <p:grpSpPr>
          <a:xfrm>
            <a:off x="7742712" y="1553773"/>
            <a:ext cx="1120138" cy="918368"/>
            <a:chOff x="4932349" y="2640685"/>
            <a:chExt cx="1840149" cy="2209407"/>
          </a:xfrm>
        </p:grpSpPr>
        <p:sp>
          <p:nvSpPr>
            <p:cNvPr id="101" name="Arc 100">
              <a:extLst>
                <a:ext uri="{FF2B5EF4-FFF2-40B4-BE49-F238E27FC236}">
                  <a16:creationId xmlns:a16="http://schemas.microsoft.com/office/drawing/2014/main" id="{7D918635-182B-98B6-1FBF-48B9B1F6B0BB}"/>
                </a:ext>
              </a:extLst>
            </p:cNvPr>
            <p:cNvSpPr/>
            <p:nvPr/>
          </p:nvSpPr>
          <p:spPr>
            <a:xfrm rot="5400000" flipH="1">
              <a:off x="5265801" y="374880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Arc 101">
              <a:extLst>
                <a:ext uri="{FF2B5EF4-FFF2-40B4-BE49-F238E27FC236}">
                  <a16:creationId xmlns:a16="http://schemas.microsoft.com/office/drawing/2014/main" id="{1277CC6E-112A-8567-AC63-13ECD48D7F30}"/>
                </a:ext>
              </a:extLst>
            </p:cNvPr>
            <p:cNvSpPr/>
            <p:nvPr/>
          </p:nvSpPr>
          <p:spPr>
            <a:xfrm rot="5400000">
              <a:off x="5267498" y="352176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3" name="Group 102">
              <a:extLst>
                <a:ext uri="{FF2B5EF4-FFF2-40B4-BE49-F238E27FC236}">
                  <a16:creationId xmlns:a16="http://schemas.microsoft.com/office/drawing/2014/main" id="{610278F9-BD44-F09D-DC49-44CB30B09325}"/>
                </a:ext>
              </a:extLst>
            </p:cNvPr>
            <p:cNvGrpSpPr/>
            <p:nvPr/>
          </p:nvGrpSpPr>
          <p:grpSpPr>
            <a:xfrm>
              <a:off x="4932349" y="2640685"/>
              <a:ext cx="1840149" cy="2209407"/>
              <a:chOff x="4932349" y="2640685"/>
              <a:chExt cx="1840149" cy="2209407"/>
            </a:xfrm>
          </p:grpSpPr>
          <p:grpSp>
            <p:nvGrpSpPr>
              <p:cNvPr id="104" name="Group 103">
                <a:extLst>
                  <a:ext uri="{FF2B5EF4-FFF2-40B4-BE49-F238E27FC236}">
                    <a16:creationId xmlns:a16="http://schemas.microsoft.com/office/drawing/2014/main" id="{9E96C2A4-A55C-FDAA-291B-9EBDB1B31583}"/>
                  </a:ext>
                </a:extLst>
              </p:cNvPr>
              <p:cNvGrpSpPr/>
              <p:nvPr/>
            </p:nvGrpSpPr>
            <p:grpSpPr>
              <a:xfrm>
                <a:off x="5493360" y="3862583"/>
                <a:ext cx="1279138" cy="987509"/>
                <a:chOff x="5493360" y="3862583"/>
                <a:chExt cx="1279138" cy="987509"/>
              </a:xfrm>
            </p:grpSpPr>
            <p:sp>
              <p:nvSpPr>
                <p:cNvPr id="111" name="Arc 110">
                  <a:extLst>
                    <a:ext uri="{FF2B5EF4-FFF2-40B4-BE49-F238E27FC236}">
                      <a16:creationId xmlns:a16="http://schemas.microsoft.com/office/drawing/2014/main" id="{79DB56DA-3D4C-8265-AF2C-B52138DF120D}"/>
                    </a:ext>
                  </a:extLst>
                </p:cNvPr>
                <p:cNvSpPr/>
                <p:nvPr/>
              </p:nvSpPr>
              <p:spPr>
                <a:xfrm rot="16200000" flipH="1">
                  <a:off x="5493364"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12" name="Group 111">
                  <a:extLst>
                    <a:ext uri="{FF2B5EF4-FFF2-40B4-BE49-F238E27FC236}">
                      <a16:creationId xmlns:a16="http://schemas.microsoft.com/office/drawing/2014/main" id="{E4C84D69-685B-9641-0E99-6667589EDBCE}"/>
                    </a:ext>
                  </a:extLst>
                </p:cNvPr>
                <p:cNvGrpSpPr/>
                <p:nvPr/>
              </p:nvGrpSpPr>
              <p:grpSpPr>
                <a:xfrm>
                  <a:off x="5493360" y="3862583"/>
                  <a:ext cx="1279138" cy="987509"/>
                  <a:chOff x="5493360" y="3862583"/>
                  <a:chExt cx="1279138" cy="987509"/>
                </a:xfrm>
              </p:grpSpPr>
              <p:cxnSp>
                <p:nvCxnSpPr>
                  <p:cNvPr id="113" name="Straight Connector 112">
                    <a:extLst>
                      <a:ext uri="{FF2B5EF4-FFF2-40B4-BE49-F238E27FC236}">
                        <a16:creationId xmlns:a16="http://schemas.microsoft.com/office/drawing/2014/main" id="{6576ECAC-873C-6AD6-D19F-B58C1BC215C7}"/>
                      </a:ext>
                    </a:extLst>
                  </p:cNvPr>
                  <p:cNvCxnSpPr>
                    <a:cxnSpLocks/>
                    <a:stCxn id="101" idx="0"/>
                    <a:endCxn id="111" idx="0"/>
                  </p:cNvCxnSpPr>
                  <p:nvPr/>
                </p:nvCxnSpPr>
                <p:spPr>
                  <a:xfrm>
                    <a:off x="5493360"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F4BA5DE-AAEC-AD12-2D0C-16596AB2C6CA}"/>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cxnSp>
            <p:nvCxnSpPr>
              <p:cNvPr id="105" name="Straight Connector 104">
                <a:extLst>
                  <a:ext uri="{FF2B5EF4-FFF2-40B4-BE49-F238E27FC236}">
                    <a16:creationId xmlns:a16="http://schemas.microsoft.com/office/drawing/2014/main" id="{AF009785-82F8-337A-EC5D-2899B1D77496}"/>
                  </a:ext>
                </a:extLst>
              </p:cNvPr>
              <p:cNvCxnSpPr>
                <a:cxnSpLocks/>
                <a:endCxn id="102" idx="2"/>
              </p:cNvCxnSpPr>
              <p:nvPr/>
            </p:nvCxnSpPr>
            <p:spPr>
              <a:xfrm>
                <a:off x="4932349" y="3749292"/>
                <a:ext cx="448928" cy="3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A981A4C8-512F-4D5D-9F44-1E230B2B2619}"/>
                  </a:ext>
                </a:extLst>
              </p:cNvPr>
              <p:cNvGrpSpPr/>
              <p:nvPr/>
            </p:nvGrpSpPr>
            <p:grpSpPr>
              <a:xfrm flipV="1">
                <a:off x="5495741" y="2640685"/>
                <a:ext cx="1276757" cy="987509"/>
                <a:chOff x="5495741" y="3862583"/>
                <a:chExt cx="1276757" cy="987509"/>
              </a:xfrm>
            </p:grpSpPr>
            <p:sp>
              <p:nvSpPr>
                <p:cNvPr id="107" name="Arc 106">
                  <a:extLst>
                    <a:ext uri="{FF2B5EF4-FFF2-40B4-BE49-F238E27FC236}">
                      <a16:creationId xmlns:a16="http://schemas.microsoft.com/office/drawing/2014/main" id="{12541201-A7F6-A0BD-4767-C0C975917BC9}"/>
                    </a:ext>
                  </a:extLst>
                </p:cNvPr>
                <p:cNvSpPr/>
                <p:nvPr/>
              </p:nvSpPr>
              <p:spPr>
                <a:xfrm rot="16200000" flipH="1">
                  <a:off x="5495745"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8" name="Group 107">
                  <a:extLst>
                    <a:ext uri="{FF2B5EF4-FFF2-40B4-BE49-F238E27FC236}">
                      <a16:creationId xmlns:a16="http://schemas.microsoft.com/office/drawing/2014/main" id="{0D94FEA0-1538-0BD4-BB44-B9F17B088468}"/>
                    </a:ext>
                  </a:extLst>
                </p:cNvPr>
                <p:cNvGrpSpPr/>
                <p:nvPr/>
              </p:nvGrpSpPr>
              <p:grpSpPr>
                <a:xfrm>
                  <a:off x="5495741" y="3862583"/>
                  <a:ext cx="1276757" cy="987509"/>
                  <a:chOff x="5495741" y="3862583"/>
                  <a:chExt cx="1276757" cy="987509"/>
                </a:xfrm>
              </p:grpSpPr>
              <p:cxnSp>
                <p:nvCxnSpPr>
                  <p:cNvPr id="109" name="Straight Connector 108">
                    <a:extLst>
                      <a:ext uri="{FF2B5EF4-FFF2-40B4-BE49-F238E27FC236}">
                        <a16:creationId xmlns:a16="http://schemas.microsoft.com/office/drawing/2014/main" id="{292A81AA-DDAA-F1C0-10BC-CFA60369F0DC}"/>
                      </a:ext>
                    </a:extLst>
                  </p:cNvPr>
                  <p:cNvCxnSpPr>
                    <a:cxnSpLocks/>
                  </p:cNvCxnSpPr>
                  <p:nvPr/>
                </p:nvCxnSpPr>
                <p:spPr>
                  <a:xfrm>
                    <a:off x="5495741"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F5CC10D-72DB-82CC-39FD-8904F10E1A14}"/>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grpSp>
      </p:grpSp>
      <p:sp>
        <p:nvSpPr>
          <p:cNvPr id="115" name="Rectangle: Rounded Corners 2">
            <a:extLst>
              <a:ext uri="{FF2B5EF4-FFF2-40B4-BE49-F238E27FC236}">
                <a16:creationId xmlns:a16="http://schemas.microsoft.com/office/drawing/2014/main" id="{C074FB6F-11C7-8D4E-EF11-B07CE23EAAE7}"/>
              </a:ext>
              <a:ext uri="{C183D7F6-B498-43B3-948B-1728B52AA6E4}">
                <adec:decorative xmlns:adec="http://schemas.microsoft.com/office/drawing/2017/decorative" val="1"/>
              </a:ext>
            </a:extLst>
          </p:cNvPr>
          <p:cNvSpPr>
            <a:spLocks/>
          </p:cNvSpPr>
          <p:nvPr/>
        </p:nvSpPr>
        <p:spPr bwMode="auto">
          <a:xfrm>
            <a:off x="8954862" y="225300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116" name="TextBox 115">
            <a:extLst>
              <a:ext uri="{FF2B5EF4-FFF2-40B4-BE49-F238E27FC236}">
                <a16:creationId xmlns:a16="http://schemas.microsoft.com/office/drawing/2014/main" id="{5D7AF120-B897-5C27-29EA-492FFDF65AB3}"/>
              </a:ext>
              <a:ext uri="{C183D7F6-B498-43B3-948B-1728B52AA6E4}">
                <adec:decorative xmlns:adec="http://schemas.microsoft.com/office/drawing/2017/decorative" val="1"/>
              </a:ext>
            </a:extLst>
          </p:cNvPr>
          <p:cNvSpPr txBox="1"/>
          <p:nvPr/>
        </p:nvSpPr>
        <p:spPr>
          <a:xfrm>
            <a:off x="8780318" y="1853831"/>
            <a:ext cx="267046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Semibold" panose="020B0702040204020203" pitchFamily="34" charset="0"/>
              </a:rPr>
              <a:t>Data Sources</a:t>
            </a:r>
          </a:p>
        </p:txBody>
      </p:sp>
      <p:pic>
        <p:nvPicPr>
          <p:cNvPr id="126" name="Picture 2">
            <a:extLst>
              <a:ext uri="{FF2B5EF4-FFF2-40B4-BE49-F238E27FC236}">
                <a16:creationId xmlns:a16="http://schemas.microsoft.com/office/drawing/2014/main" id="{F2254518-298C-EEF3-D240-8DD14967023C}"/>
              </a:ext>
              <a:ext uri="{C183D7F6-B498-43B3-948B-1728B52AA6E4}">
                <adec:decorative xmlns:adec="http://schemas.microsoft.com/office/drawing/2017/decorative" val="1"/>
              </a:ext>
            </a:extLst>
          </p:cNvPr>
          <p:cNvPicPr>
            <a:picLocks noChangeAspect="1" noChangeArrowheads="1"/>
          </p:cNvPicPr>
          <p:nvPr/>
        </p:nvPicPr>
        <p:blipFill>
          <a:blip r:embed="rId7"/>
          <a:srcRect/>
          <a:stretch/>
        </p:blipFill>
        <p:spPr bwMode="auto">
          <a:xfrm>
            <a:off x="10604189" y="2359061"/>
            <a:ext cx="337332" cy="337991"/>
          </a:xfrm>
          <a:prstGeom prst="rect">
            <a:avLst/>
          </a:prstGeom>
          <a:ln w="6657" cap="flat">
            <a:noFill/>
            <a:prstDash val="solid"/>
            <a:miter/>
          </a:ln>
          <a:effectLst/>
          <a:extLst>
            <a:ext uri="{909E8E84-426E-40DD-AFC4-6F175D3DCCD1}">
              <a14:hiddenFill xmlns:a14="http://schemas.microsoft.com/office/drawing/2010/main">
                <a:solidFill>
                  <a:srgbClr val="FFFFFF"/>
                </a:solidFill>
              </a14:hiddenFill>
            </a:ext>
          </a:extLst>
        </p:spPr>
      </p:pic>
      <p:pic>
        <p:nvPicPr>
          <p:cNvPr id="127" name="Graphic 126">
            <a:extLst>
              <a:ext uri="{FF2B5EF4-FFF2-40B4-BE49-F238E27FC236}">
                <a16:creationId xmlns:a16="http://schemas.microsoft.com/office/drawing/2014/main" id="{62FE76AB-815B-3EC1-54BE-86883410390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44050" y="2404027"/>
            <a:ext cx="315798" cy="271333"/>
          </a:xfrm>
          <a:prstGeom prst="rect">
            <a:avLst/>
          </a:prstGeom>
          <a:effectLst/>
        </p:spPr>
      </p:pic>
      <p:pic>
        <p:nvPicPr>
          <p:cNvPr id="7" name="Graphic 14">
            <a:extLst>
              <a:ext uri="{FF2B5EF4-FFF2-40B4-BE49-F238E27FC236}">
                <a16:creationId xmlns:a16="http://schemas.microsoft.com/office/drawing/2014/main" id="{A5B5BCB1-FDCF-8F54-DAB6-64BFDC98A5B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bwMode="auto">
          <a:xfrm>
            <a:off x="10030505" y="240486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Rounded Corners 2">
            <a:extLst>
              <a:ext uri="{FF2B5EF4-FFF2-40B4-BE49-F238E27FC236}">
                <a16:creationId xmlns:a16="http://schemas.microsoft.com/office/drawing/2014/main" id="{C354502C-2B1D-5A86-7AE3-385B40A02E3B}"/>
              </a:ext>
              <a:ext uri="{C183D7F6-B498-43B3-948B-1728B52AA6E4}">
                <adec:decorative xmlns:adec="http://schemas.microsoft.com/office/drawing/2017/decorative" val="1"/>
              </a:ext>
            </a:extLst>
          </p:cNvPr>
          <p:cNvSpPr/>
          <p:nvPr/>
        </p:nvSpPr>
        <p:spPr bwMode="auto">
          <a:xfrm>
            <a:off x="5829300" y="804862"/>
            <a:ext cx="2652711" cy="2105023"/>
          </a:xfrm>
          <a:prstGeom prst="ellipse">
            <a:avLst/>
          </a:pr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6" name="Group 5" descr="data sources">
            <a:extLst>
              <a:ext uri="{FF2B5EF4-FFF2-40B4-BE49-F238E27FC236}">
                <a16:creationId xmlns:a16="http://schemas.microsoft.com/office/drawing/2014/main" id="{46349C6E-520C-4A50-82E8-74C212C4E2B5}"/>
              </a:ext>
            </a:extLst>
          </p:cNvPr>
          <p:cNvGrpSpPr/>
          <p:nvPr/>
        </p:nvGrpSpPr>
        <p:grpSpPr>
          <a:xfrm>
            <a:off x="8954861" y="1104760"/>
            <a:ext cx="2321380" cy="596709"/>
            <a:chOff x="8954861" y="1104760"/>
            <a:chExt cx="2321380" cy="596709"/>
          </a:xfrm>
        </p:grpSpPr>
        <p:sp>
          <p:nvSpPr>
            <p:cNvPr id="99" name="Rectangle: Rounded Corners 98">
              <a:extLst>
                <a:ext uri="{FF2B5EF4-FFF2-40B4-BE49-F238E27FC236}">
                  <a16:creationId xmlns:a16="http://schemas.microsoft.com/office/drawing/2014/main" id="{20E18537-CE74-A9AA-CB36-C9FD3BEEB121}"/>
                </a:ext>
                <a:ext uri="{C183D7F6-B498-43B3-948B-1728B52AA6E4}">
                  <adec:decorative xmlns:adec="http://schemas.microsoft.com/office/drawing/2017/decorative" val="1"/>
                </a:ext>
              </a:extLst>
            </p:cNvPr>
            <p:cNvSpPr>
              <a:spLocks/>
            </p:cNvSpPr>
            <p:nvPr/>
          </p:nvSpPr>
          <p:spPr bwMode="auto">
            <a:xfrm>
              <a:off x="8954861" y="110476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117" name="Graphic 116">
              <a:extLst>
                <a:ext uri="{FF2B5EF4-FFF2-40B4-BE49-F238E27FC236}">
                  <a16:creationId xmlns:a16="http://schemas.microsoft.com/office/drawing/2014/main" id="{D015790A-9168-6181-AD31-1B0867CBA0E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11275" y="1260151"/>
              <a:ext cx="285926" cy="285925"/>
            </a:xfrm>
            <a:prstGeom prst="rect">
              <a:avLst/>
            </a:prstGeom>
            <a:effectLst/>
          </p:spPr>
        </p:pic>
        <p:grpSp>
          <p:nvGrpSpPr>
            <p:cNvPr id="118" name="Group 117">
              <a:extLst>
                <a:ext uri="{FF2B5EF4-FFF2-40B4-BE49-F238E27FC236}">
                  <a16:creationId xmlns:a16="http://schemas.microsoft.com/office/drawing/2014/main" id="{8FC9CE3C-66E7-D24B-B3E5-C22E563EAB83}"/>
                </a:ext>
                <a:ext uri="{C183D7F6-B498-43B3-948B-1728B52AA6E4}">
                  <adec:decorative xmlns:adec="http://schemas.microsoft.com/office/drawing/2017/decorative" val="1"/>
                </a:ext>
              </a:extLst>
            </p:cNvPr>
            <p:cNvGrpSpPr/>
            <p:nvPr/>
          </p:nvGrpSpPr>
          <p:grpSpPr>
            <a:xfrm>
              <a:off x="10348336" y="1271413"/>
              <a:ext cx="219845" cy="263399"/>
              <a:chOff x="8721573" y="1756372"/>
              <a:chExt cx="504624" cy="604601"/>
            </a:xfrm>
            <a:effectLst/>
          </p:grpSpPr>
          <p:sp>
            <p:nvSpPr>
              <p:cNvPr id="119" name="Freeform 88">
                <a:extLst>
                  <a:ext uri="{FF2B5EF4-FFF2-40B4-BE49-F238E27FC236}">
                    <a16:creationId xmlns:a16="http://schemas.microsoft.com/office/drawing/2014/main" id="{CE47F25B-BAA4-5E09-56B7-A6AE68C9DB7B}"/>
                  </a:ext>
                </a:extLst>
              </p:cNvPr>
              <p:cNvSpPr>
                <a:spLocks/>
              </p:cNvSpPr>
              <p:nvPr/>
            </p:nvSpPr>
            <p:spPr bwMode="auto">
              <a:xfrm>
                <a:off x="8782369" y="1810878"/>
                <a:ext cx="443828" cy="55009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100000">
                    <a:srgbClr val="0078D4"/>
                  </a:gs>
                  <a:gs pos="63000">
                    <a:srgbClr val="0078D4">
                      <a:lumMod val="75000"/>
                    </a:srgbClr>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120" name="file" descr="file, paper, sheet">
                <a:extLst>
                  <a:ext uri="{FF2B5EF4-FFF2-40B4-BE49-F238E27FC236}">
                    <a16:creationId xmlns:a16="http://schemas.microsoft.com/office/drawing/2014/main" id="{8D61EE79-A1A6-F3BB-8C89-88C5764EED72}"/>
                  </a:ext>
                </a:extLst>
              </p:cNvPr>
              <p:cNvGrpSpPr/>
              <p:nvPr/>
            </p:nvGrpSpPr>
            <p:grpSpPr>
              <a:xfrm>
                <a:off x="8721573" y="1756372"/>
                <a:ext cx="443832" cy="550097"/>
                <a:chOff x="8018464" y="4649789"/>
                <a:chExt cx="225427" cy="279401"/>
              </a:xfrm>
            </p:grpSpPr>
            <p:sp>
              <p:nvSpPr>
                <p:cNvPr id="121" name="Freeform 88">
                  <a:extLst>
                    <a:ext uri="{FF2B5EF4-FFF2-40B4-BE49-F238E27FC236}">
                      <a16:creationId xmlns:a16="http://schemas.microsoft.com/office/drawing/2014/main" id="{52F4A033-A3FC-09F0-0827-E43077FA5ADF}"/>
                    </a:ext>
                  </a:extLst>
                </p:cNvPr>
                <p:cNvSpPr>
                  <a:spLocks/>
                </p:cNvSpPr>
                <p:nvPr/>
              </p:nvSpPr>
              <p:spPr bwMode="auto">
                <a:xfrm>
                  <a:off x="8018466" y="4649790"/>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89">
                  <a:extLst>
                    <a:ext uri="{FF2B5EF4-FFF2-40B4-BE49-F238E27FC236}">
                      <a16:creationId xmlns:a16="http://schemas.microsoft.com/office/drawing/2014/main" id="{F8FA11A6-55FC-2390-A055-87B3520AC140}"/>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3" name="Line 90">
                  <a:extLst>
                    <a:ext uri="{FF2B5EF4-FFF2-40B4-BE49-F238E27FC236}">
                      <a16:creationId xmlns:a16="http://schemas.microsoft.com/office/drawing/2014/main" id="{64235566-99ED-5358-5128-0965DD6E28BA}"/>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5" name="Picture 4">
              <a:extLst>
                <a:ext uri="{FF2B5EF4-FFF2-40B4-BE49-F238E27FC236}">
                  <a16:creationId xmlns:a16="http://schemas.microsoft.com/office/drawing/2014/main" id="{A619F9B4-8C12-F4D7-0311-58C0A9017A43}"/>
                </a:ext>
              </a:extLst>
            </p:cNvPr>
            <p:cNvPicPr>
              <a:picLocks noChangeAspect="1"/>
            </p:cNvPicPr>
            <p:nvPr/>
          </p:nvPicPr>
          <p:blipFill rotWithShape="1">
            <a:blip r:embed="rId14"/>
            <a:srcRect l="28263" t="2521" r="26768" b="-2521"/>
            <a:stretch/>
          </p:blipFill>
          <p:spPr>
            <a:xfrm>
              <a:off x="9176008" y="1235493"/>
              <a:ext cx="481196" cy="361137"/>
            </a:xfrm>
            <a:prstGeom prst="rect">
              <a:avLst/>
            </a:prstGeom>
          </p:spPr>
        </p:pic>
        <p:pic>
          <p:nvPicPr>
            <p:cNvPr id="4" name="Graphic 1">
              <a:extLst>
                <a:ext uri="{FF2B5EF4-FFF2-40B4-BE49-F238E27FC236}">
                  <a16:creationId xmlns:a16="http://schemas.microsoft.com/office/drawing/2014/main" id="{7CAA668D-A626-3B97-1C23-0B3770F16B5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29788" y="1249036"/>
              <a:ext cx="287490" cy="314809"/>
            </a:xfrm>
            <a:prstGeom prst="rect">
              <a:avLst/>
            </a:prstGeom>
          </p:spPr>
        </p:pic>
      </p:grpSp>
      <p:pic>
        <p:nvPicPr>
          <p:cNvPr id="11" name="Picture 10">
            <a:extLst>
              <a:ext uri="{FF2B5EF4-FFF2-40B4-BE49-F238E27FC236}">
                <a16:creationId xmlns:a16="http://schemas.microsoft.com/office/drawing/2014/main" id="{E3ED9E77-23AE-0C88-879C-E694FAC218CC}"/>
              </a:ext>
              <a:ext uri="{C183D7F6-B498-43B3-948B-1728B52AA6E4}">
                <adec:decorative xmlns:adec="http://schemas.microsoft.com/office/drawing/2017/decorative" val="1"/>
              </a:ext>
            </a:extLst>
          </p:cNvPr>
          <p:cNvPicPr>
            <a:picLocks noChangeAspect="1"/>
          </p:cNvPicPr>
          <p:nvPr/>
        </p:nvPicPr>
        <p:blipFill rotWithShape="1">
          <a:blip r:embed="rId17">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43481225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8" name="Rounded Rectangle 20">
            <a:extLst>
              <a:ext uri="{FF2B5EF4-FFF2-40B4-BE49-F238E27FC236}">
                <a16:creationId xmlns:a16="http://schemas.microsoft.com/office/drawing/2014/main" id="{FB36ECB8-A76A-80E2-1AE5-1983AF618B9B}"/>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9" name="TextBox 18">
            <a:extLst>
              <a:ext uri="{FF2B5EF4-FFF2-40B4-BE49-F238E27FC236}">
                <a16:creationId xmlns:a16="http://schemas.microsoft.com/office/drawing/2014/main" id="{A3E4C52F-9C25-FF86-85B0-3C6BF5DAAF27}"/>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17" name="Rounded Rectangle 5">
            <a:extLst>
              <a:ext uri="{FF2B5EF4-FFF2-40B4-BE49-F238E27FC236}">
                <a16:creationId xmlns:a16="http://schemas.microsoft.com/office/drawing/2014/main" id="{6E027C5A-60F3-D595-5035-D65C706188F2}"/>
              </a:ext>
              <a:ext uri="{C183D7F6-B498-43B3-948B-1728B52AA6E4}">
                <adec:decorative xmlns:adec="http://schemas.microsoft.com/office/drawing/2017/decorative" val="1"/>
              </a:ext>
            </a:extLst>
          </p:cNvPr>
          <p:cNvSpPr/>
          <p:nvPr/>
        </p:nvSpPr>
        <p:spPr bwMode="auto">
          <a:xfrm>
            <a:off x="2114550" y="1367149"/>
            <a:ext cx="3506504"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4" name="Rounded Rectangle 22">
            <a:extLst>
              <a:ext uri="{FF2B5EF4-FFF2-40B4-BE49-F238E27FC236}">
                <a16:creationId xmlns:a16="http://schemas.microsoft.com/office/drawing/2014/main" id="{9744F583-CA92-F4B7-2348-025A533F8817}"/>
              </a:ext>
              <a:ext uri="{C183D7F6-B498-43B3-948B-1728B52AA6E4}">
                <adec:decorative xmlns:adec="http://schemas.microsoft.com/office/drawing/2017/decorative" val="1"/>
              </a:ext>
            </a:extLst>
          </p:cNvPr>
          <p:cNvSpPr/>
          <p:nvPr/>
        </p:nvSpPr>
        <p:spPr bwMode="auto">
          <a:xfrm>
            <a:off x="2358058" y="1862110"/>
            <a:ext cx="667226" cy="343924"/>
          </a:xfrm>
          <a:prstGeom prst="roundRect">
            <a:avLst>
              <a:gd name="adj" fmla="val 50000"/>
            </a:avLst>
          </a:prstGeom>
          <a:gradFill flip="none" rotWithShape="1">
            <a:gsLst>
              <a:gs pos="61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5" name="Text Placeholder 4">
            <a:extLst>
              <a:ext uri="{FF2B5EF4-FFF2-40B4-BE49-F238E27FC236}">
                <a16:creationId xmlns:a16="http://schemas.microsoft.com/office/drawing/2014/main" id="{56690721-4871-5F06-15D9-142A2D05293A}"/>
              </a:ext>
              <a:ext uri="{C183D7F6-B498-43B3-948B-1728B52AA6E4}">
                <adec:decorative xmlns:adec="http://schemas.microsoft.com/office/drawing/2017/decorative" val="1"/>
              </a:ext>
            </a:extLst>
          </p:cNvPr>
          <p:cNvSpPr txBox="1">
            <a:spLocks/>
          </p:cNvSpPr>
          <p:nvPr/>
        </p:nvSpPr>
        <p:spPr>
          <a:xfrm>
            <a:off x="2441337" y="1940984"/>
            <a:ext cx="2705269" cy="370101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18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Health Plus offers coverage for vision exams, glasses, and contact lenses, as well as dental exams, cleanings, and filling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endPar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 name="Rectangle: Rounded Corners 7">
            <a:extLst>
              <a:ext uri="{FF2B5EF4-FFF2-40B4-BE49-F238E27FC236}">
                <a16:creationId xmlns:a16="http://schemas.microsoft.com/office/drawing/2014/main" id="{DFD11E87-3208-02D3-4204-49C572541F0A}"/>
              </a:ext>
              <a:ext uri="{C183D7F6-B498-43B3-948B-1728B52AA6E4}">
                <adec:decorative xmlns:adec="http://schemas.microsoft.com/office/drawing/2017/decorative" val="1"/>
              </a:ext>
            </a:extLst>
          </p:cNvPr>
          <p:cNvSpPr/>
          <p:nvPr/>
        </p:nvSpPr>
        <p:spPr bwMode="auto">
          <a:xfrm>
            <a:off x="2303954" y="2278098"/>
            <a:ext cx="3025951"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Segoe UI" pitchFamily="34" charset="0"/>
              <a:cs typeface="Segoe Sans Text" pitchFamily="2" charset="0"/>
            </a:endParaRPr>
          </a:p>
        </p:txBody>
      </p:sp>
      <p:sp>
        <p:nvSpPr>
          <p:cNvPr id="9" name="Rectangle: Rounded Corners 8">
            <a:extLst>
              <a:ext uri="{FF2B5EF4-FFF2-40B4-BE49-F238E27FC236}">
                <a16:creationId xmlns:a16="http://schemas.microsoft.com/office/drawing/2014/main" id="{2EC15CA9-A5CD-8CF2-0764-44D1CD1AEA36}"/>
              </a:ext>
              <a:ext uri="{C183D7F6-B498-43B3-948B-1728B52AA6E4}">
                <adec:decorative xmlns:adec="http://schemas.microsoft.com/office/drawing/2017/decorative" val="1"/>
              </a:ext>
            </a:extLst>
          </p:cNvPr>
          <p:cNvSpPr/>
          <p:nvPr/>
        </p:nvSpPr>
        <p:spPr bwMode="auto">
          <a:xfrm>
            <a:off x="2303954" y="3541674"/>
            <a:ext cx="3026664"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0" name="Rectangle: Rounded Corners 9">
            <a:extLst>
              <a:ext uri="{FF2B5EF4-FFF2-40B4-BE49-F238E27FC236}">
                <a16:creationId xmlns:a16="http://schemas.microsoft.com/office/drawing/2014/main" id="{9361F6D5-02C8-205F-626D-61FA5C25235D}"/>
              </a:ext>
              <a:ext uri="{C183D7F6-B498-43B3-948B-1728B52AA6E4}">
                <adec:decorative xmlns:adec="http://schemas.microsoft.com/office/drawing/2017/decorative" val="1"/>
              </a:ext>
            </a:extLst>
          </p:cNvPr>
          <p:cNvSpPr/>
          <p:nvPr/>
        </p:nvSpPr>
        <p:spPr bwMode="auto">
          <a:xfrm>
            <a:off x="2303954" y="4097726"/>
            <a:ext cx="3026664" cy="168483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2" name="Connector: Elbow 11">
            <a:extLst>
              <a:ext uri="{FF2B5EF4-FFF2-40B4-BE49-F238E27FC236}">
                <a16:creationId xmlns:a16="http://schemas.microsoft.com/office/drawing/2014/main" id="{2EBE6B1A-DBB4-2D31-2B76-418C5D54115F}"/>
              </a:ext>
              <a:ext uri="{C183D7F6-B498-43B3-948B-1728B52AA6E4}">
                <adec:decorative xmlns:adec="http://schemas.microsoft.com/office/drawing/2017/decorative" val="1"/>
              </a:ext>
            </a:extLst>
          </p:cNvPr>
          <p:cNvCxnSpPr>
            <a:cxnSpLocks/>
            <a:stCxn id="11" idx="0"/>
            <a:endCxn id="8" idx="0"/>
          </p:cNvCxnSpPr>
          <p:nvPr/>
        </p:nvCxnSpPr>
        <p:spPr>
          <a:xfrm rot="16200000" flipH="1">
            <a:off x="2383761" y="844930"/>
            <a:ext cx="441049" cy="2425287"/>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608FA0F-1FB5-13ED-1B9B-110C87A1EBE3}"/>
              </a:ext>
              <a:ext uri="{C183D7F6-B498-43B3-948B-1728B52AA6E4}">
                <adec:decorative xmlns:adec="http://schemas.microsoft.com/office/drawing/2017/decorative" val="1"/>
              </a:ext>
            </a:extLst>
          </p:cNvPr>
          <p:cNvCxnSpPr>
            <a:cxnSpLocks/>
            <a:stCxn id="13" idx="1"/>
            <a:endCxn id="9" idx="3"/>
          </p:cNvCxnSpPr>
          <p:nvPr/>
        </p:nvCxnSpPr>
        <p:spPr>
          <a:xfrm rot="10800000">
            <a:off x="5330618" y="3770275"/>
            <a:ext cx="780766" cy="272347"/>
          </a:xfrm>
          <a:prstGeom prst="bentConnector3">
            <a:avLst>
              <a:gd name="adj1" fmla="val 41054"/>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93F3A72-AE21-D45A-3B08-9B71D15CDE0D}"/>
              </a:ext>
              <a:ext uri="{C183D7F6-B498-43B3-948B-1728B52AA6E4}">
                <adec:decorative xmlns:adec="http://schemas.microsoft.com/office/drawing/2017/decorative" val="1"/>
              </a:ext>
            </a:extLst>
          </p:cNvPr>
          <p:cNvCxnSpPr>
            <a:cxnSpLocks/>
            <a:stCxn id="15" idx="2"/>
            <a:endCxn id="10" idx="2"/>
          </p:cNvCxnSpPr>
          <p:nvPr/>
        </p:nvCxnSpPr>
        <p:spPr>
          <a:xfrm rot="16200000" flipH="1">
            <a:off x="2437816" y="4403093"/>
            <a:ext cx="334588" cy="2424351"/>
          </a:xfrm>
          <a:prstGeom prst="bentConnector3">
            <a:avLst>
              <a:gd name="adj1" fmla="val 168323"/>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478EDC5-1CA4-BA84-55CA-C89F4785EF01}"/>
              </a:ext>
            </a:extLst>
          </p:cNvPr>
          <p:cNvSpPr txBox="1"/>
          <p:nvPr/>
        </p:nvSpPr>
        <p:spPr>
          <a:xfrm>
            <a:off x="588263" y="1837049"/>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3" name="TextBox 12">
            <a:extLst>
              <a:ext uri="{FF2B5EF4-FFF2-40B4-BE49-F238E27FC236}">
                <a16:creationId xmlns:a16="http://schemas.microsoft.com/office/drawing/2014/main" id="{8457D6E2-862C-836E-0DB1-C3B6938445C5}"/>
              </a:ext>
            </a:extLst>
          </p:cNvPr>
          <p:cNvSpPr txBox="1"/>
          <p:nvPr/>
        </p:nvSpPr>
        <p:spPr>
          <a:xfrm>
            <a:off x="6111384" y="3504012"/>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15" name="TextBox 14">
            <a:extLst>
              <a:ext uri="{FF2B5EF4-FFF2-40B4-BE49-F238E27FC236}">
                <a16:creationId xmlns:a16="http://schemas.microsoft.com/office/drawing/2014/main" id="{F7A4B414-DF33-B4D7-2504-14420EBBA66F}"/>
              </a:ext>
            </a:extLst>
          </p:cNvPr>
          <p:cNvSpPr txBox="1"/>
          <p:nvPr/>
        </p:nvSpPr>
        <p:spPr>
          <a:xfrm>
            <a:off x="588263" y="4616978"/>
            <a:ext cx="1609344"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Sources used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
        <p:nvSpPr>
          <p:cNvPr id="2" name="Title 1">
            <a:extLst>
              <a:ext uri="{FF2B5EF4-FFF2-40B4-BE49-F238E27FC236}">
                <a16:creationId xmlns:a16="http://schemas.microsoft.com/office/drawing/2014/main" id="{469CA37D-7F19-5F28-A09C-D74BB010DB61}"/>
              </a:ext>
            </a:extLst>
          </p:cNvPr>
          <p:cNvSpPr>
            <a:spLocks noGrp="1"/>
          </p:cNvSpPr>
          <p:nvPr>
            <p:ph type="title"/>
          </p:nvPr>
        </p:nvSpPr>
        <p:spPr>
          <a:xfrm>
            <a:off x="584200" y="-372410"/>
            <a:ext cx="5508419" cy="372410"/>
          </a:xfrm>
        </p:spPr>
        <p:txBody>
          <a:bodyPr vert="horz" wrap="square" lIns="0" tIns="64008" rIns="0" bIns="0" rtlCol="0" anchor="b">
            <a:spAutoFit/>
          </a:bodyPr>
          <a:lstStyle/>
          <a:p>
            <a:r>
              <a:rPr lang="en-US" dirty="0"/>
              <a:t>Prompting </a:t>
            </a:r>
            <a:r>
              <a:rPr lang="en-US" dirty="0" err="1"/>
              <a:t>GenAI</a:t>
            </a:r>
            <a:r>
              <a:rPr lang="en-US" dirty="0"/>
              <a:t> Example</a:t>
            </a:r>
          </a:p>
        </p:txBody>
      </p:sp>
    </p:spTree>
    <p:extLst>
      <p:ext uri="{BB962C8B-B14F-4D97-AF65-F5344CB8AC3E}">
        <p14:creationId xmlns:p14="http://schemas.microsoft.com/office/powerpoint/2010/main" val="233170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42" presetClass="path" presetSubtype="0" decel="100000" fill="hold" grpId="1" nodeType="withEffect">
                                  <p:stCondLst>
                                    <p:cond delay="0"/>
                                  </p:stCondLst>
                                  <p:childTnLst>
                                    <p:animMotion origin="layout" path="M -6.25E-7 3.33333E-6 L -0.03672 3.33333E-6 " pathEditMode="relative" rAng="0" ptsTypes="AA">
                                      <p:cBhvr>
                                        <p:cTn id="12" dur="600" spd="-100000" fill="hold"/>
                                        <p:tgtEl>
                                          <p:spTgt spid="11"/>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4"/>
                                        </p:tgtEl>
                                        <p:attrNameLst>
                                          <p:attrName>ppt_x</p:attrName>
                                          <p:attrName>ppt_y</p:attrName>
                                        </p:attrNameLst>
                                      </p:cBhvr>
                                      <p:rCtr x="1836" y="0"/>
                                    </p:animMotion>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42" presetClass="path" presetSubtype="0" decel="100000" fill="hold" grpId="1" nodeType="withEffect">
                                  <p:stCondLst>
                                    <p:cond delay="0"/>
                                  </p:stCondLst>
                                  <p:childTnLst>
                                    <p:animMotion origin="layout" path="M -4.58333E-6 -2.59259E-6 L 0.03672 -2.59259E-6 " pathEditMode="relative" rAng="0" ptsTypes="AA">
                                      <p:cBhvr>
                                        <p:cTn id="25" dur="600" spd="-100000" fill="hold"/>
                                        <p:tgtEl>
                                          <p:spTgt spid="13"/>
                                        </p:tgtEl>
                                        <p:attrNameLst>
                                          <p:attrName>ppt_x</p:attrName>
                                          <p:attrName>ppt_y</p:attrName>
                                        </p:attrNameLst>
                                      </p:cBhvr>
                                      <p:rCtr x="1836" y="0"/>
                                    </p:animMotion>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42" presetClass="path" presetSubtype="0" decel="100000" fill="hold" nodeType="withEffect">
                                  <p:stCondLst>
                                    <p:cond delay="0"/>
                                  </p:stCondLst>
                                  <p:childTnLst>
                                    <p:animMotion origin="layout" path="M 2.08333E-7 -7.40741E-7 L -0.03672 -7.40741E-7 " pathEditMode="relative" rAng="0" ptsTypes="AA">
                                      <p:cBhvr>
                                        <p:cTn id="30" dur="600" spd="-100000" fill="hold"/>
                                        <p:tgtEl>
                                          <p:spTgt spid="12"/>
                                        </p:tgtEl>
                                        <p:attrNameLst>
                                          <p:attrName>ppt_x</p:attrName>
                                          <p:attrName>ppt_y</p:attrName>
                                        </p:attrNameLst>
                                      </p:cBhvr>
                                      <p:rCtr x="-1836" y="0"/>
                                    </p:animMotion>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grpId="1" nodeType="withEffect">
                                  <p:stCondLst>
                                    <p:cond delay="0"/>
                                  </p:stCondLst>
                                  <p:childTnLst>
                                    <p:animMotion origin="layout" path="M -8.33333E-7 4.44444E-6 L -0.03672 4.44444E-6 " pathEditMode="relative" rAng="0" ptsTypes="AA">
                                      <p:cBhvr>
                                        <p:cTn id="35" dur="600" spd="-100000" fill="hold"/>
                                        <p:tgtEl>
                                          <p:spTgt spid="15"/>
                                        </p:tgtEl>
                                        <p:attrNameLst>
                                          <p:attrName>ppt_x</p:attrName>
                                          <p:attrName>ppt_y</p:attrName>
                                        </p:attrNameLst>
                                      </p:cBhvr>
                                      <p:rCtr x="-1836" y="0"/>
                                    </p:animMotion>
                                  </p:childTnLst>
                                </p:cTn>
                              </p:par>
                              <p:par>
                                <p:cTn id="36" presetID="10" presetClass="entr" presetSubtype="0" fill="hold"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42" presetClass="path" presetSubtype="0" decel="100000" fill="hold" nodeType="withEffect">
                                  <p:stCondLst>
                                    <p:cond delay="0"/>
                                  </p:stCondLst>
                                  <p:childTnLst>
                                    <p:animMotion origin="layout" path="M 2.08333E-7 7.40741E-7 L -0.03672 7.40741E-7 " pathEditMode="relative" rAng="0" ptsTypes="AA">
                                      <p:cBhvr>
                                        <p:cTn id="40" dur="600" spd="-100000" fill="hold"/>
                                        <p:tgtEl>
                                          <p:spTgt spid="16"/>
                                        </p:tgtEl>
                                        <p:attrNameLst>
                                          <p:attrName>ppt_x</p:attrName>
                                          <p:attrName>ppt_y</p:attrName>
                                        </p:attrNameLst>
                                      </p:cBhvr>
                                      <p:rCtr x="-1836" y="0"/>
                                    </p:animMotion>
                                  </p:childTnLst>
                                </p:cTn>
                              </p:par>
                              <p:par>
                                <p:cTn id="41" presetID="10"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1" grpId="1"/>
      <p:bldP spid="13" grpId="0"/>
      <p:bldP spid="13" grpId="1"/>
      <p:bldP spid="15" grpId="0"/>
      <p:bldP spid="15"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cxnSp>
        <p:nvCxnSpPr>
          <p:cNvPr id="27" name="Connector: Elbow 26">
            <a:extLst>
              <a:ext uri="{FF2B5EF4-FFF2-40B4-BE49-F238E27FC236}">
                <a16:creationId xmlns:a16="http://schemas.microsoft.com/office/drawing/2014/main" id="{834F3753-7CCE-92B6-66A0-B0E067F5E656}"/>
              </a:ext>
              <a:ext uri="{C183D7F6-B498-43B3-948B-1728B52AA6E4}">
                <adec:decorative xmlns:adec="http://schemas.microsoft.com/office/drawing/2017/decorative" val="1"/>
              </a:ext>
            </a:extLst>
          </p:cNvPr>
          <p:cNvCxnSpPr>
            <a:cxnSpLocks/>
          </p:cNvCxnSpPr>
          <p:nvPr/>
        </p:nvCxnSpPr>
        <p:spPr>
          <a:xfrm rot="16200000" flipH="1">
            <a:off x="9223287" y="4619265"/>
            <a:ext cx="1002753" cy="1"/>
          </a:xfrm>
          <a:prstGeom prst="bentConnector3">
            <a:avLst>
              <a:gd name="adj1" fmla="val 50000"/>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4" name="Rounded Rectangle 5">
            <a:extLst>
              <a:ext uri="{FF2B5EF4-FFF2-40B4-BE49-F238E27FC236}">
                <a16:creationId xmlns:a16="http://schemas.microsoft.com/office/drawing/2014/main" id="{F2323106-477A-6823-2908-21B6FD86AC92}"/>
              </a:ext>
              <a:ext uri="{C183D7F6-B498-43B3-948B-1728B52AA6E4}">
                <adec:decorative xmlns:adec="http://schemas.microsoft.com/office/drawing/2017/decorative" val="1"/>
              </a:ext>
            </a:extLst>
          </p:cNvPr>
          <p:cNvSpPr/>
          <p:nvPr/>
        </p:nvSpPr>
        <p:spPr bwMode="auto">
          <a:xfrm>
            <a:off x="2130703" y="1468749"/>
            <a:ext cx="3474967"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5" name="Rounded Rectangle 22">
            <a:extLst>
              <a:ext uri="{FF2B5EF4-FFF2-40B4-BE49-F238E27FC236}">
                <a16:creationId xmlns:a16="http://schemas.microsoft.com/office/drawing/2014/main" id="{E8FF74B8-D5EA-52EF-5347-A427899BD3AE}"/>
              </a:ext>
              <a:ext uri="{C183D7F6-B498-43B3-948B-1728B52AA6E4}">
                <adec:decorative xmlns:adec="http://schemas.microsoft.com/office/drawing/2017/decorative" val="1"/>
              </a:ext>
            </a:extLst>
          </p:cNvPr>
          <p:cNvSpPr/>
          <p:nvPr/>
        </p:nvSpPr>
        <p:spPr bwMode="auto">
          <a:xfrm>
            <a:off x="2350939" y="1632575"/>
            <a:ext cx="800498" cy="275588"/>
          </a:xfrm>
          <a:prstGeom prst="roundRect">
            <a:avLst>
              <a:gd name="adj" fmla="val 50000"/>
            </a:avLst>
          </a:prstGeom>
          <a:gradFill flip="none" rotWithShape="1">
            <a:gsLst>
              <a:gs pos="66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6" name="Text Placeholder 4">
            <a:extLst>
              <a:ext uri="{FF2B5EF4-FFF2-40B4-BE49-F238E27FC236}">
                <a16:creationId xmlns:a16="http://schemas.microsoft.com/office/drawing/2014/main" id="{B1D43A7F-AC45-852E-3A53-CD4F23DF3B73}"/>
              </a:ext>
              <a:ext uri="{C183D7F6-B498-43B3-948B-1728B52AA6E4}">
                <adec:decorative xmlns:adec="http://schemas.microsoft.com/office/drawing/2017/decorative" val="1"/>
              </a:ext>
            </a:extLst>
          </p:cNvPr>
          <p:cNvSpPr txBox="1">
            <a:spLocks/>
          </p:cNvSpPr>
          <p:nvPr/>
        </p:nvSpPr>
        <p:spPr>
          <a:xfrm>
            <a:off x="2425953" y="1651748"/>
            <a:ext cx="2705269" cy="483209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20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 that wasn’t picked since your most relevant results were not on top:</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3. Northwind Health Plus offers coverage for vision exams, glasses, and contact lenses, as well as dental exams, cleanings, and fillings.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 name="Rounded Rectangle 20">
            <a:extLst>
              <a:ext uri="{FF2B5EF4-FFF2-40B4-BE49-F238E27FC236}">
                <a16:creationId xmlns:a16="http://schemas.microsoft.com/office/drawing/2014/main" id="{5F0C01BF-507B-5E75-6F86-E31A946219C5}"/>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8" name="TextBox 7">
            <a:extLst>
              <a:ext uri="{FF2B5EF4-FFF2-40B4-BE49-F238E27FC236}">
                <a16:creationId xmlns:a16="http://schemas.microsoft.com/office/drawing/2014/main" id="{6115B82B-9DCB-01B0-55B6-A8FFEA257658}"/>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9" name="Rectangle: Rounded Corners 8">
            <a:extLst>
              <a:ext uri="{FF2B5EF4-FFF2-40B4-BE49-F238E27FC236}">
                <a16:creationId xmlns:a16="http://schemas.microsoft.com/office/drawing/2014/main" id="{AC190548-0A55-DECD-75D3-1594E6E3764E}"/>
              </a:ext>
              <a:ext uri="{C183D7F6-B498-43B3-948B-1728B52AA6E4}">
                <adec:decorative xmlns:adec="http://schemas.microsoft.com/office/drawing/2017/decorative" val="1"/>
              </a:ext>
            </a:extLst>
          </p:cNvPr>
          <p:cNvSpPr/>
          <p:nvPr/>
        </p:nvSpPr>
        <p:spPr bwMode="auto">
          <a:xfrm>
            <a:off x="2288570" y="1988862"/>
            <a:ext cx="3108960"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1" name="Rectangle: Rounded Corners 10">
            <a:extLst>
              <a:ext uri="{FF2B5EF4-FFF2-40B4-BE49-F238E27FC236}">
                <a16:creationId xmlns:a16="http://schemas.microsoft.com/office/drawing/2014/main" id="{5A5021D1-82D5-F376-A760-A7DAB2800E9E}"/>
              </a:ext>
              <a:ext uri="{C183D7F6-B498-43B3-948B-1728B52AA6E4}">
                <adec:decorative xmlns:adec="http://schemas.microsoft.com/office/drawing/2017/decorative" val="1"/>
              </a:ext>
            </a:extLst>
          </p:cNvPr>
          <p:cNvSpPr/>
          <p:nvPr/>
        </p:nvSpPr>
        <p:spPr bwMode="auto">
          <a:xfrm>
            <a:off x="2288570" y="3252438"/>
            <a:ext cx="3108960"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2" name="Rectangle: Rounded Corners 11">
            <a:extLst>
              <a:ext uri="{FF2B5EF4-FFF2-40B4-BE49-F238E27FC236}">
                <a16:creationId xmlns:a16="http://schemas.microsoft.com/office/drawing/2014/main" id="{45297304-C338-73E5-FDE2-FFEBC58E7971}"/>
              </a:ext>
              <a:ext uri="{C183D7F6-B498-43B3-948B-1728B52AA6E4}">
                <adec:decorative xmlns:adec="http://schemas.microsoft.com/office/drawing/2017/decorative" val="1"/>
              </a:ext>
            </a:extLst>
          </p:cNvPr>
          <p:cNvSpPr/>
          <p:nvPr/>
        </p:nvSpPr>
        <p:spPr bwMode="auto">
          <a:xfrm>
            <a:off x="2288570" y="3808490"/>
            <a:ext cx="3108960" cy="100922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4" name="Connector: Elbow 13">
            <a:extLst>
              <a:ext uri="{FF2B5EF4-FFF2-40B4-BE49-F238E27FC236}">
                <a16:creationId xmlns:a16="http://schemas.microsoft.com/office/drawing/2014/main" id="{C7101C3E-E90C-3E5E-E8E6-3DA67DCE1FD4}"/>
              </a:ext>
              <a:ext uri="{C183D7F6-B498-43B3-948B-1728B52AA6E4}">
                <adec:decorative xmlns:adec="http://schemas.microsoft.com/office/drawing/2017/decorative" val="1"/>
              </a:ext>
            </a:extLst>
          </p:cNvPr>
          <p:cNvCxnSpPr>
            <a:cxnSpLocks/>
            <a:stCxn id="13" idx="0"/>
            <a:endCxn id="9" idx="0"/>
          </p:cNvCxnSpPr>
          <p:nvPr/>
        </p:nvCxnSpPr>
        <p:spPr>
          <a:xfrm rot="16200000" flipH="1">
            <a:off x="2389129" y="534942"/>
            <a:ext cx="441049" cy="2466791"/>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B13973A1-B9E7-ECCF-3BEB-D5DDF9136BC3}"/>
              </a:ext>
              <a:ext uri="{C183D7F6-B498-43B3-948B-1728B52AA6E4}">
                <adec:decorative xmlns:adec="http://schemas.microsoft.com/office/drawing/2017/decorative" val="1"/>
              </a:ext>
            </a:extLst>
          </p:cNvPr>
          <p:cNvCxnSpPr>
            <a:cxnSpLocks/>
            <a:stCxn id="20" idx="1"/>
            <a:endCxn id="11" idx="3"/>
          </p:cNvCxnSpPr>
          <p:nvPr/>
        </p:nvCxnSpPr>
        <p:spPr>
          <a:xfrm rot="10800000">
            <a:off x="5397530" y="3481038"/>
            <a:ext cx="713854" cy="267592"/>
          </a:xfrm>
          <a:prstGeom prst="bentConnector3">
            <a:avLst>
              <a:gd name="adj1" fmla="val 50000"/>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65786F-B62F-387E-C621-9DA1DB3293F5}"/>
              </a:ext>
              <a:ext uri="{C183D7F6-B498-43B3-948B-1728B52AA6E4}">
                <adec:decorative xmlns:adec="http://schemas.microsoft.com/office/drawing/2017/decorative" val="1"/>
              </a:ext>
            </a:extLst>
          </p:cNvPr>
          <p:cNvCxnSpPr>
            <a:cxnSpLocks/>
            <a:stCxn id="17" idx="2"/>
            <a:endCxn id="12" idx="1"/>
          </p:cNvCxnSpPr>
          <p:nvPr/>
        </p:nvCxnSpPr>
        <p:spPr>
          <a:xfrm rot="5400000" flipH="1" flipV="1">
            <a:off x="1686012" y="3943782"/>
            <a:ext cx="233236" cy="971880"/>
          </a:xfrm>
          <a:prstGeom prst="bentConnector4">
            <a:avLst>
              <a:gd name="adj1" fmla="val -98012"/>
              <a:gd name="adj2" fmla="val 88267"/>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AD367606-1BC6-89B7-FC44-EEFB25432B06}"/>
              </a:ext>
              <a:ext uri="{C183D7F6-B498-43B3-948B-1728B52AA6E4}">
                <adec:decorative xmlns:adec="http://schemas.microsoft.com/office/drawing/2017/decorative" val="1"/>
              </a:ext>
            </a:extLst>
          </p:cNvPr>
          <p:cNvSpPr/>
          <p:nvPr/>
        </p:nvSpPr>
        <p:spPr bwMode="auto">
          <a:xfrm>
            <a:off x="2288570" y="4903334"/>
            <a:ext cx="3108960" cy="1317789"/>
          </a:xfrm>
          <a:prstGeom prst="roundRect">
            <a:avLst>
              <a:gd name="adj" fmla="val 4409"/>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24" name="Connector: Elbow 23">
            <a:extLst>
              <a:ext uri="{FF2B5EF4-FFF2-40B4-BE49-F238E27FC236}">
                <a16:creationId xmlns:a16="http://schemas.microsoft.com/office/drawing/2014/main" id="{E6ED8078-E9D1-8B71-E3CD-0AC33195948F}"/>
              </a:ext>
              <a:ext uri="{C183D7F6-B498-43B3-948B-1728B52AA6E4}">
                <adec:decorative xmlns:adec="http://schemas.microsoft.com/office/drawing/2017/decorative" val="1"/>
              </a:ext>
            </a:extLst>
          </p:cNvPr>
          <p:cNvCxnSpPr>
            <a:cxnSpLocks/>
            <a:stCxn id="25" idx="1"/>
          </p:cNvCxnSpPr>
          <p:nvPr/>
        </p:nvCxnSpPr>
        <p:spPr>
          <a:xfrm rot="10800000">
            <a:off x="5400049" y="5287330"/>
            <a:ext cx="692776" cy="302297"/>
          </a:xfrm>
          <a:prstGeom prst="bentConnector3">
            <a:avLst>
              <a:gd name="adj1" fmla="val 50000"/>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EEE8F59F-144E-E422-AA6B-896641B4065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88030" y="3286852"/>
            <a:ext cx="673267" cy="673267"/>
          </a:xfrm>
          <a:prstGeom prst="rect">
            <a:avLst/>
          </a:prstGeom>
          <a:effectLst>
            <a:outerShdw blurRad="63500" dist="127000" dir="2700000" algn="tl" rotWithShape="0">
              <a:srgbClr val="454142">
                <a:alpha val="20000"/>
              </a:srgbClr>
            </a:outerShdw>
          </a:effectLst>
        </p:spPr>
      </p:pic>
      <p:sp>
        <p:nvSpPr>
          <p:cNvPr id="10" name="Text Placeholder 9">
            <a:extLst>
              <a:ext uri="{FF2B5EF4-FFF2-40B4-BE49-F238E27FC236}">
                <a16:creationId xmlns:a16="http://schemas.microsoft.com/office/drawing/2014/main" id="{EECA5B77-5CBC-53D0-3E9E-6EDC7BDBD53F}"/>
              </a:ext>
            </a:extLst>
          </p:cNvPr>
          <p:cNvSpPr>
            <a:spLocks noGrp="1"/>
          </p:cNvSpPr>
          <p:nvPr>
            <p:ph type="body" sz="quarter" idx="4294967295"/>
          </p:nvPr>
        </p:nvSpPr>
        <p:spPr>
          <a:xfrm>
            <a:off x="6461688" y="750317"/>
            <a:ext cx="5359400" cy="923330"/>
          </a:xfrm>
        </p:spPr>
        <p:txBody>
          <a:bodyPr/>
          <a:lstStyle/>
          <a:p>
            <a:pPr marL="0" indent="0">
              <a:buNone/>
            </a:pPr>
            <a:r>
              <a:rPr lang="en-US" sz="2000">
                <a:solidFill>
                  <a:schemeClr val="bg1"/>
                </a:solidFill>
              </a:rPr>
              <a:t>What happens if the results the user is expecting are not returned as part of the top sources used to answer the question?</a:t>
            </a:r>
          </a:p>
        </p:txBody>
      </p:sp>
      <p:sp>
        <p:nvSpPr>
          <p:cNvPr id="13" name="TextBox 12">
            <a:extLst>
              <a:ext uri="{FF2B5EF4-FFF2-40B4-BE49-F238E27FC236}">
                <a16:creationId xmlns:a16="http://schemas.microsoft.com/office/drawing/2014/main" id="{AEFF6513-1D9C-54D3-54EB-5DC0916C4238}"/>
              </a:ext>
            </a:extLst>
          </p:cNvPr>
          <p:cNvSpPr txBox="1"/>
          <p:nvPr/>
        </p:nvSpPr>
        <p:spPr>
          <a:xfrm>
            <a:off x="572879" y="1547813"/>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7" name="TextBox 16">
            <a:extLst>
              <a:ext uri="{FF2B5EF4-FFF2-40B4-BE49-F238E27FC236}">
                <a16:creationId xmlns:a16="http://schemas.microsoft.com/office/drawing/2014/main" id="{4898E13B-E9BB-6FCD-9FB1-1BA43523FD34}"/>
              </a:ext>
            </a:extLst>
          </p:cNvPr>
          <p:cNvSpPr txBox="1"/>
          <p:nvPr/>
        </p:nvSpPr>
        <p:spPr>
          <a:xfrm>
            <a:off x="572879" y="3715343"/>
            <a:ext cx="1487622"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op sources used 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
        <p:nvSpPr>
          <p:cNvPr id="20" name="TextBox 19">
            <a:extLst>
              <a:ext uri="{FF2B5EF4-FFF2-40B4-BE49-F238E27FC236}">
                <a16:creationId xmlns:a16="http://schemas.microsoft.com/office/drawing/2014/main" id="{A1695B6D-4A8A-F22E-A019-4764FA621715}"/>
              </a:ext>
            </a:extLst>
          </p:cNvPr>
          <p:cNvSpPr txBox="1"/>
          <p:nvPr/>
        </p:nvSpPr>
        <p:spPr>
          <a:xfrm>
            <a:off x="6111384" y="3210021"/>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25" name="TextBox 24">
            <a:extLst>
              <a:ext uri="{FF2B5EF4-FFF2-40B4-BE49-F238E27FC236}">
                <a16:creationId xmlns:a16="http://schemas.microsoft.com/office/drawing/2014/main" id="{0D75FB75-DD5A-7CE9-A736-29FDD632709E}"/>
              </a:ext>
            </a:extLst>
          </p:cNvPr>
          <p:cNvSpPr txBox="1"/>
          <p:nvPr/>
        </p:nvSpPr>
        <p:spPr>
          <a:xfrm>
            <a:off x="6092825" y="4927906"/>
            <a:ext cx="1803454" cy="1323439"/>
          </a:xfrm>
          <a:prstGeom prst="rect">
            <a:avLst/>
          </a:prstGeom>
          <a:noFill/>
        </p:spPr>
        <p:txBody>
          <a:bodyPr wrap="square" lIns="91440">
            <a:spAutoFit/>
          </a:bodyPr>
          <a:lstStyle>
            <a:defPPr>
              <a:defRPr lang="en-US"/>
            </a:defPPr>
            <a:lvl1pPr defTabSz="914400">
              <a:defRPr sz="16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Relevant result that wasn’t provided as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part of the</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p sources</a:t>
            </a:r>
          </a:p>
        </p:txBody>
      </p:sp>
      <p:sp>
        <p:nvSpPr>
          <p:cNvPr id="32" name="TextBox 31">
            <a:extLst>
              <a:ext uri="{FF2B5EF4-FFF2-40B4-BE49-F238E27FC236}">
                <a16:creationId xmlns:a16="http://schemas.microsoft.com/office/drawing/2014/main" id="{7AF3A334-CEB8-850C-859D-AAD6BB20BCED}"/>
              </a:ext>
            </a:extLst>
          </p:cNvPr>
          <p:cNvSpPr txBox="1"/>
          <p:nvPr/>
        </p:nvSpPr>
        <p:spPr>
          <a:xfrm>
            <a:off x="8416309" y="5136544"/>
            <a:ext cx="2616708"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If retriever doesn’t return the most relevant results the answer is not complete</a:t>
            </a:r>
          </a:p>
        </p:txBody>
      </p:sp>
      <p:sp>
        <p:nvSpPr>
          <p:cNvPr id="2" name="Title 1">
            <a:extLst>
              <a:ext uri="{FF2B5EF4-FFF2-40B4-BE49-F238E27FC236}">
                <a16:creationId xmlns:a16="http://schemas.microsoft.com/office/drawing/2014/main" id="{A3AD2FB0-7D2F-52AE-6D93-F105DD51D57A}"/>
              </a:ext>
            </a:extLst>
          </p:cNvPr>
          <p:cNvSpPr>
            <a:spLocks noGrp="1"/>
          </p:cNvSpPr>
          <p:nvPr>
            <p:ph type="title"/>
          </p:nvPr>
        </p:nvSpPr>
        <p:spPr>
          <a:xfrm>
            <a:off x="584200" y="-680186"/>
            <a:ext cx="5508419" cy="680186"/>
          </a:xfrm>
        </p:spPr>
        <p:txBody>
          <a:bodyPr vert="horz" wrap="square" lIns="0" tIns="64008" rIns="0" bIns="0" rtlCol="0" anchor="b">
            <a:spAutoFit/>
          </a:bodyPr>
          <a:lstStyle/>
          <a:p>
            <a:r>
              <a:rPr lang="en-US" dirty="0"/>
              <a:t>Prompt </a:t>
            </a:r>
            <a:r>
              <a:rPr lang="en-US" dirty="0" err="1"/>
              <a:t>GenAI</a:t>
            </a:r>
            <a:r>
              <a:rPr lang="en-US" dirty="0"/>
              <a:t> with Incorrect Response Example</a:t>
            </a:r>
          </a:p>
        </p:txBody>
      </p:sp>
    </p:spTree>
    <p:extLst>
      <p:ext uri="{BB962C8B-B14F-4D97-AF65-F5344CB8AC3E}">
        <p14:creationId xmlns:p14="http://schemas.microsoft.com/office/powerpoint/2010/main" val="44950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42" presetClass="path" presetSubtype="0" decel="100000" fill="hold" grpId="1" nodeType="withEffect">
                                  <p:stCondLst>
                                    <p:cond delay="0"/>
                                  </p:stCondLst>
                                  <p:childTnLst>
                                    <p:animMotion origin="layout" path="M -6.25E-7 3.7037E-6 L -0.03672 3.7037E-6 " pathEditMode="relative" rAng="0" ptsTypes="AA">
                                      <p:cBhvr>
                                        <p:cTn id="12" dur="600" spd="-100000" fill="hold"/>
                                        <p:tgtEl>
                                          <p:spTgt spid="13"/>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6"/>
                                        </p:tgtEl>
                                        <p:attrNameLst>
                                          <p:attrName>ppt_x</p:attrName>
                                          <p:attrName>ppt_y</p:attrName>
                                        </p:attrNameLst>
                                      </p:cBhvr>
                                      <p:rCtr x="1836" y="0"/>
                                    </p:animMotion>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42" presetClass="path" presetSubtype="0" decel="100000" fill="hold" nodeType="withEffect">
                                  <p:stCondLst>
                                    <p:cond delay="0"/>
                                  </p:stCondLst>
                                  <p:childTnLst>
                                    <p:animMotion origin="layout" path="M 2.08333E-7 -3.7037E-7 L -0.03672 -3.7037E-7 " pathEditMode="relative" rAng="0" ptsTypes="AA">
                                      <p:cBhvr>
                                        <p:cTn id="25" dur="600" spd="-100000" fill="hold"/>
                                        <p:tgtEl>
                                          <p:spTgt spid="14"/>
                                        </p:tgtEl>
                                        <p:attrNameLst>
                                          <p:attrName>ppt_x</p:attrName>
                                          <p:attrName>ppt_y</p:attrName>
                                        </p:attrNameLst>
                                      </p:cBhvr>
                                      <p:rCtr x="-1836" y="0"/>
                                    </p:animMotion>
                                  </p:childTnLst>
                                </p:cTn>
                              </p:par>
                              <p:par>
                                <p:cTn id="26" presetID="10" presetClass="entr" presetSubtype="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42" presetClass="path" presetSubtype="0" decel="100000" fill="hold" grpId="1" nodeType="withEffect">
                                  <p:stCondLst>
                                    <p:cond delay="0"/>
                                  </p:stCondLst>
                                  <p:childTnLst>
                                    <p:animMotion origin="layout" path="M -8.33333E-7 3.33333E-6 L -0.03672 3.33333E-6 " pathEditMode="relative" rAng="0" ptsTypes="AA">
                                      <p:cBhvr>
                                        <p:cTn id="30" dur="600" spd="-100000" fill="hold"/>
                                        <p:tgtEl>
                                          <p:spTgt spid="17"/>
                                        </p:tgtEl>
                                        <p:attrNameLst>
                                          <p:attrName>ppt_x</p:attrName>
                                          <p:attrName>ppt_y</p:attrName>
                                        </p:attrNameLst>
                                      </p:cBhvr>
                                      <p:rCtr x="-1836" y="0"/>
                                    </p:animMotion>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42" presetClass="path" presetSubtype="0" decel="100000" fill="hold" nodeType="withEffect">
                                  <p:stCondLst>
                                    <p:cond delay="0"/>
                                  </p:stCondLst>
                                  <p:childTnLst>
                                    <p:animMotion origin="layout" path="M -4.58333E-6 7.40741E-7 L -0.03671 7.40741E-7 " pathEditMode="relative" rAng="0" ptsTypes="AA">
                                      <p:cBhvr>
                                        <p:cTn id="35" dur="600" spd="-100000" fill="hold"/>
                                        <p:tgtEl>
                                          <p:spTgt spid="18"/>
                                        </p:tgtEl>
                                        <p:attrNameLst>
                                          <p:attrName>ppt_x</p:attrName>
                                          <p:attrName>ppt_y</p:attrName>
                                        </p:attrNameLst>
                                      </p:cBhvr>
                                      <p:rCtr x="-1836" y="0"/>
                                    </p:animMotion>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42" presetClass="path" presetSubtype="0" decel="100000" fill="hold" nodeType="withEffect">
                                  <p:stCondLst>
                                    <p:cond delay="0"/>
                                  </p:stCondLst>
                                  <p:childTnLst>
                                    <p:animMotion origin="layout" path="M -4.375E-6 -3.7037E-7 L 0.03672 -3.7037E-7 " pathEditMode="relative" rAng="0" ptsTypes="AA">
                                      <p:cBhvr>
                                        <p:cTn id="46" dur="600" spd="-100000" fill="hold"/>
                                        <p:tgtEl>
                                          <p:spTgt spid="24"/>
                                        </p:tgtEl>
                                        <p:attrNameLst>
                                          <p:attrName>ppt_x</p:attrName>
                                          <p:attrName>ppt_y</p:attrName>
                                        </p:attrNameLst>
                                      </p:cBhvr>
                                      <p:rCtr x="1836" y="0"/>
                                    </p:animMotion>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par>
                                <p:cTn id="50" presetID="42" presetClass="path" presetSubtype="0" decel="100000" fill="hold" grpId="1" nodeType="withEffect">
                                  <p:stCondLst>
                                    <p:cond delay="0"/>
                                  </p:stCondLst>
                                  <p:childTnLst>
                                    <p:animMotion origin="layout" path="M 2.70833E-6 3.33333E-6 L 0.03672 3.33333E-6 " pathEditMode="relative" rAng="0" ptsTypes="AA">
                                      <p:cBhvr>
                                        <p:cTn id="51" dur="600" spd="-100000" fill="hold"/>
                                        <p:tgtEl>
                                          <p:spTgt spid="25"/>
                                        </p:tgtEl>
                                        <p:attrNameLst>
                                          <p:attrName>ppt_x</p:attrName>
                                          <p:attrName>ppt_y</p:attrName>
                                        </p:attrNameLst>
                                      </p:cBhvr>
                                      <p:rCtr x="1836" y="0"/>
                                    </p:animMotion>
                                  </p:childTnLst>
                                </p:cTn>
                              </p:par>
                              <p:par>
                                <p:cTn id="52" presetID="10" presetClass="entr" presetSubtype="0" fill="hold" grpId="0"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42" presetClass="path" presetSubtype="0" decel="100000" fill="hold" grpId="1" nodeType="withEffect">
                                  <p:stCondLst>
                                    <p:cond delay="0"/>
                                  </p:stCondLst>
                                  <p:childTnLst>
                                    <p:animMotion origin="layout" path="M 3.75E-6 -7.40741E-7 L 0.03672 -7.40741E-7 " pathEditMode="relative" rAng="0" ptsTypes="AA">
                                      <p:cBhvr>
                                        <p:cTn id="56" dur="600" spd="-100000" fill="hold"/>
                                        <p:tgtEl>
                                          <p:spTgt spid="32"/>
                                        </p:tgtEl>
                                        <p:attrNameLst>
                                          <p:attrName>ppt_x</p:attrName>
                                          <p:attrName>ppt_y</p:attrName>
                                        </p:attrNameLst>
                                      </p:cBhvr>
                                      <p:rCtr x="1836" y="0"/>
                                    </p:animMotion>
                                  </p:childTnLst>
                                </p:cTn>
                              </p:par>
                              <p:par>
                                <p:cTn id="57" presetID="10"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42" presetClass="path" presetSubtype="0" decel="100000" fill="hold" grpId="1" nodeType="withEffect">
                                  <p:stCondLst>
                                    <p:cond delay="0"/>
                                  </p:stCondLst>
                                  <p:childTnLst>
                                    <p:animMotion origin="layout" path="M -4.58333E-6 -2.59259E-6 L 0.03672 -2.59259E-6 " pathEditMode="relative" rAng="0" ptsTypes="AA">
                                      <p:cBhvr>
                                        <p:cTn id="61" dur="600" spd="-100000" fill="hold"/>
                                        <p:tgtEl>
                                          <p:spTgt spid="20"/>
                                        </p:tgtEl>
                                        <p:attrNameLst>
                                          <p:attrName>ppt_x</p:attrName>
                                          <p:attrName>ppt_y</p:attrName>
                                        </p:attrNameLst>
                                      </p:cBhvr>
                                      <p:rCtr x="1836" y="0"/>
                                    </p:animMotion>
                                  </p:childTnLst>
                                </p:cTn>
                              </p:par>
                              <p:par>
                                <p:cTn id="62" presetID="10" presetClass="entr" presetSubtype="0" fill="hold"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250"/>
                                        <p:tgtEl>
                                          <p:spTgt spid="27"/>
                                        </p:tgtEl>
                                      </p:cBhvr>
                                    </p:animEffect>
                                  </p:childTnLst>
                                </p:cTn>
                              </p:par>
                              <p:par>
                                <p:cTn id="65" presetID="42" presetClass="path" presetSubtype="0" decel="100000" fill="hold" nodeType="withEffect">
                                  <p:stCondLst>
                                    <p:cond delay="0"/>
                                  </p:stCondLst>
                                  <p:childTnLst>
                                    <p:animMotion origin="layout" path="M -3.75E-6 -0.03472 L -3.75E-6 1.85185E-6 " pathEditMode="relative" rAng="0" ptsTypes="AA">
                                      <p:cBhvr>
                                        <p:cTn id="66" dur="500" fill="hold"/>
                                        <p:tgtEl>
                                          <p:spTgt spid="2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23" grpId="0" animBg="1"/>
      <p:bldP spid="13" grpId="0"/>
      <p:bldP spid="13" grpId="1"/>
      <p:bldP spid="17" grpId="0"/>
      <p:bldP spid="17" grpId="1"/>
      <p:bldP spid="20" grpId="0"/>
      <p:bldP spid="20" grpId="1"/>
      <p:bldP spid="25" grpId="0"/>
      <p:bldP spid="25" grpId="1"/>
      <p:bldP spid="32" grpId="0"/>
      <p:bldP spid="32"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6AF3EE1-C528-A0C7-998C-93D17781D25A}"/>
              </a:ext>
              <a:ext uri="{C183D7F6-B498-43B3-948B-1728B52AA6E4}">
                <adec:decorative xmlns:adec="http://schemas.microsoft.com/office/drawing/2017/decorative" val="1"/>
              </a:ext>
            </a:extLst>
          </p:cNvPr>
          <p:cNvGrpSpPr/>
          <p:nvPr/>
        </p:nvGrpSpPr>
        <p:grpSpPr>
          <a:xfrm>
            <a:off x="3591486" y="1991187"/>
            <a:ext cx="8029013" cy="3387780"/>
            <a:chOff x="588264" y="1991187"/>
            <a:chExt cx="11032236" cy="3387780"/>
          </a:xfrm>
        </p:grpSpPr>
        <p:sp>
          <p:nvSpPr>
            <p:cNvPr id="14" name="Straight Connector 13">
              <a:extLst>
                <a:ext uri="{FF2B5EF4-FFF2-40B4-BE49-F238E27FC236}">
                  <a16:creationId xmlns:a16="http://schemas.microsoft.com/office/drawing/2014/main" id="{E47E39E4-FD27-345A-4F87-49EAC6C7EE41}"/>
                </a:ext>
                <a:ext uri="{C183D7F6-B498-43B3-948B-1728B52AA6E4}">
                  <adec:decorative xmlns:adec="http://schemas.microsoft.com/office/drawing/2017/decorative" val="1"/>
                </a:ext>
              </a:extLst>
            </p:cNvPr>
            <p:cNvSpPr/>
            <p:nvPr/>
          </p:nvSpPr>
          <p:spPr>
            <a:xfrm>
              <a:off x="588264" y="537896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Straight Connector 14">
              <a:extLst>
                <a:ext uri="{FF2B5EF4-FFF2-40B4-BE49-F238E27FC236}">
                  <a16:creationId xmlns:a16="http://schemas.microsoft.com/office/drawing/2014/main" id="{26A77142-D9E0-1F8D-781B-46512E126A4D}"/>
                </a:ext>
                <a:ext uri="{C183D7F6-B498-43B3-948B-1728B52AA6E4}">
                  <adec:decorative xmlns:adec="http://schemas.microsoft.com/office/drawing/2017/decorative" val="1"/>
                </a:ext>
              </a:extLst>
            </p:cNvPr>
            <p:cNvSpPr/>
            <p:nvPr/>
          </p:nvSpPr>
          <p:spPr>
            <a:xfrm>
              <a:off x="588264" y="481433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Straight Connector 15">
              <a:extLst>
                <a:ext uri="{FF2B5EF4-FFF2-40B4-BE49-F238E27FC236}">
                  <a16:creationId xmlns:a16="http://schemas.microsoft.com/office/drawing/2014/main" id="{FBAFA493-5921-8E3F-E2B1-65D730F0980D}"/>
                </a:ext>
                <a:ext uri="{C183D7F6-B498-43B3-948B-1728B52AA6E4}">
                  <adec:decorative xmlns:adec="http://schemas.microsoft.com/office/drawing/2017/decorative" val="1"/>
                </a:ext>
              </a:extLst>
            </p:cNvPr>
            <p:cNvSpPr/>
            <p:nvPr/>
          </p:nvSpPr>
          <p:spPr>
            <a:xfrm>
              <a:off x="588264" y="424970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Straight Connector 16">
              <a:extLst>
                <a:ext uri="{FF2B5EF4-FFF2-40B4-BE49-F238E27FC236}">
                  <a16:creationId xmlns:a16="http://schemas.microsoft.com/office/drawing/2014/main" id="{839F4277-5D55-5DFF-3B99-DCDDBBDB8EC2}"/>
                </a:ext>
                <a:ext uri="{C183D7F6-B498-43B3-948B-1728B52AA6E4}">
                  <adec:decorative xmlns:adec="http://schemas.microsoft.com/office/drawing/2017/decorative" val="1"/>
                </a:ext>
              </a:extLst>
            </p:cNvPr>
            <p:cNvSpPr/>
            <p:nvPr/>
          </p:nvSpPr>
          <p:spPr>
            <a:xfrm>
              <a:off x="588264" y="368507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Straight Connector 17">
              <a:extLst>
                <a:ext uri="{FF2B5EF4-FFF2-40B4-BE49-F238E27FC236}">
                  <a16:creationId xmlns:a16="http://schemas.microsoft.com/office/drawing/2014/main" id="{ACF097E4-E7AA-08AF-1036-EE4EB1774CF9}"/>
                </a:ext>
                <a:ext uri="{C183D7F6-B498-43B3-948B-1728B52AA6E4}">
                  <adec:decorative xmlns:adec="http://schemas.microsoft.com/office/drawing/2017/decorative" val="1"/>
                </a:ext>
              </a:extLst>
            </p:cNvPr>
            <p:cNvSpPr/>
            <p:nvPr/>
          </p:nvSpPr>
          <p:spPr>
            <a:xfrm>
              <a:off x="588264" y="312044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Straight Connector 18">
              <a:extLst>
                <a:ext uri="{FF2B5EF4-FFF2-40B4-BE49-F238E27FC236}">
                  <a16:creationId xmlns:a16="http://schemas.microsoft.com/office/drawing/2014/main" id="{D6ABA1E7-F8D2-8E2C-CAAC-E895261AAF73}"/>
                </a:ext>
                <a:ext uri="{C183D7F6-B498-43B3-948B-1728B52AA6E4}">
                  <adec:decorative xmlns:adec="http://schemas.microsoft.com/office/drawing/2017/decorative" val="1"/>
                </a:ext>
              </a:extLst>
            </p:cNvPr>
            <p:cNvSpPr/>
            <p:nvPr/>
          </p:nvSpPr>
          <p:spPr>
            <a:xfrm>
              <a:off x="588264" y="255581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Straight Connector 19">
              <a:extLst>
                <a:ext uri="{FF2B5EF4-FFF2-40B4-BE49-F238E27FC236}">
                  <a16:creationId xmlns:a16="http://schemas.microsoft.com/office/drawing/2014/main" id="{7ED5E646-0E6C-42AC-E707-DDE5D2AF0CA5}"/>
                </a:ext>
                <a:ext uri="{C183D7F6-B498-43B3-948B-1728B52AA6E4}">
                  <adec:decorative xmlns:adec="http://schemas.microsoft.com/office/drawing/2017/decorative" val="1"/>
                </a:ext>
              </a:extLst>
            </p:cNvPr>
            <p:cNvSpPr/>
            <p:nvPr/>
          </p:nvSpPr>
          <p:spPr>
            <a:xfrm>
              <a:off x="588264" y="199118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lang="en-US">
                <a:solidFill>
                  <a:schemeClr val="bg1"/>
                </a:solidFill>
              </a:rPr>
              <a:t>Evaluating RAG: </a:t>
            </a:r>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est Practices</a:t>
            </a:r>
            <a:endParaRPr lang="en-US"/>
          </a:p>
        </p:txBody>
      </p:sp>
      <p:sp>
        <p:nvSpPr>
          <p:cNvPr id="22" name="Rectangle: Rounded Corners 21">
            <a:extLst>
              <a:ext uri="{FF2B5EF4-FFF2-40B4-BE49-F238E27FC236}">
                <a16:creationId xmlns:a16="http://schemas.microsoft.com/office/drawing/2014/main" id="{2E3058D3-1E99-8C63-2CDD-2038562C3EE6}"/>
              </a:ext>
            </a:extLst>
          </p:cNvPr>
          <p:cNvSpPr/>
          <p:nvPr/>
        </p:nvSpPr>
        <p:spPr>
          <a:xfrm>
            <a:off x="588264" y="145741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Model evaluation</a:t>
            </a:r>
          </a:p>
        </p:txBody>
      </p:sp>
      <p:sp>
        <p:nvSpPr>
          <p:cNvPr id="21" name="Freeform: Shape 20">
            <a:extLst>
              <a:ext uri="{FF2B5EF4-FFF2-40B4-BE49-F238E27FC236}">
                <a16:creationId xmlns:a16="http://schemas.microsoft.com/office/drawing/2014/main" id="{82766A95-CC1B-034F-EC3E-08801577433C}"/>
              </a:ext>
            </a:extLst>
          </p:cNvPr>
          <p:cNvSpPr/>
          <p:nvPr/>
        </p:nvSpPr>
        <p:spPr>
          <a:xfrm>
            <a:off x="3456645" y="1439144"/>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valuate your model regularly using various metrics to ensure it meets your desired outcomes.</a:t>
            </a:r>
          </a:p>
        </p:txBody>
      </p:sp>
      <p:sp>
        <p:nvSpPr>
          <p:cNvPr id="24" name="Rectangle: Rounded Corners 23">
            <a:extLst>
              <a:ext uri="{FF2B5EF4-FFF2-40B4-BE49-F238E27FC236}">
                <a16:creationId xmlns:a16="http://schemas.microsoft.com/office/drawing/2014/main" id="{2D7665A8-BA66-E32C-1E16-831CECE755EC}"/>
              </a:ext>
            </a:extLst>
          </p:cNvPr>
          <p:cNvSpPr/>
          <p:nvPr/>
        </p:nvSpPr>
        <p:spPr>
          <a:xfrm>
            <a:off x="588264" y="202645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nderstand user intent</a:t>
            </a:r>
          </a:p>
        </p:txBody>
      </p:sp>
      <p:sp>
        <p:nvSpPr>
          <p:cNvPr id="23" name="Freeform: Shape 22">
            <a:extLst>
              <a:ext uri="{FF2B5EF4-FFF2-40B4-BE49-F238E27FC236}">
                <a16:creationId xmlns:a16="http://schemas.microsoft.com/office/drawing/2014/main" id="{381BF3A1-8B77-29E1-AA3A-E5CFA8E2CA1B}"/>
              </a:ext>
            </a:extLst>
          </p:cNvPr>
          <p:cNvSpPr/>
          <p:nvPr/>
        </p:nvSpPr>
        <p:spPr>
          <a:xfrm>
            <a:off x="3456645" y="2005572"/>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lassify user intents as navigational, informational, or transactional. This aids in tailoring responses effectively.</a:t>
            </a:r>
          </a:p>
        </p:txBody>
      </p:sp>
      <p:sp>
        <p:nvSpPr>
          <p:cNvPr id="26" name="Rectangle: Rounded Corners 25">
            <a:extLst>
              <a:ext uri="{FF2B5EF4-FFF2-40B4-BE49-F238E27FC236}">
                <a16:creationId xmlns:a16="http://schemas.microsoft.com/office/drawing/2014/main" id="{9124798F-5A7B-A4EE-77B2-CF062CD1D538}"/>
              </a:ext>
            </a:extLst>
          </p:cNvPr>
          <p:cNvSpPr/>
          <p:nvPr/>
        </p:nvSpPr>
        <p:spPr>
          <a:xfrm>
            <a:off x="588264" y="2595488"/>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dentify query types</a:t>
            </a:r>
          </a:p>
        </p:txBody>
      </p:sp>
      <p:sp>
        <p:nvSpPr>
          <p:cNvPr id="25" name="Freeform: Shape 24">
            <a:extLst>
              <a:ext uri="{FF2B5EF4-FFF2-40B4-BE49-F238E27FC236}">
                <a16:creationId xmlns:a16="http://schemas.microsoft.com/office/drawing/2014/main" id="{5854A4D5-9716-D353-78B3-DA4BBDAB2FA7}"/>
              </a:ext>
            </a:extLst>
          </p:cNvPr>
          <p:cNvSpPr/>
          <p:nvPr/>
        </p:nvSpPr>
        <p:spPr>
          <a:xfrm>
            <a:off x="3456645" y="2572001"/>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cept-seeking, fact-seeking, keyword, low query/doc term overlap, misspelled, long,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medium, and short queries help uncover user intent and evaluate system performance.</a:t>
            </a:r>
          </a:p>
        </p:txBody>
      </p:sp>
      <p:sp>
        <p:nvSpPr>
          <p:cNvPr id="28" name="Rectangle: Rounded Corners 27">
            <a:extLst>
              <a:ext uri="{FF2B5EF4-FFF2-40B4-BE49-F238E27FC236}">
                <a16:creationId xmlns:a16="http://schemas.microsoft.com/office/drawing/2014/main" id="{3DBBBF43-BD5A-9CE9-AD97-F31DBBE38C1E}"/>
              </a:ext>
            </a:extLst>
          </p:cNvPr>
          <p:cNvSpPr/>
          <p:nvPr/>
        </p:nvSpPr>
        <p:spPr>
          <a:xfrm>
            <a:off x="588264" y="3164526"/>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 comprehensive metrics</a:t>
            </a:r>
          </a:p>
        </p:txBody>
      </p:sp>
      <p:sp>
        <p:nvSpPr>
          <p:cNvPr id="27" name="Freeform: Shape 26">
            <a:extLst>
              <a:ext uri="{FF2B5EF4-FFF2-40B4-BE49-F238E27FC236}">
                <a16:creationId xmlns:a16="http://schemas.microsoft.com/office/drawing/2014/main" id="{8DA21A8B-763E-121B-1BC6-17B1152707B1}"/>
              </a:ext>
            </a:extLst>
          </p:cNvPr>
          <p:cNvSpPr/>
          <p:nvPr/>
        </p:nvSpPr>
        <p:spPr>
          <a:xfrm>
            <a:off x="3456645" y="3138429"/>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mploy a mix of lexical-based (Precision and Recall, F1 Score, Word Error Rate), semantic-based (Semantic Textual Similarity, Word Embedding Similarity, BLEU), and combined metrics (ROU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BERTScore</a:t>
            </a:r>
            <a:r>
              <a:rPr kumimoji="0" lang="en-US" sz="1200" b="0" i="0" u="none" strike="noStrike" kern="1200" cap="none" spc="0" normalizeH="0" baseline="0" noProof="0">
                <a:ln>
                  <a:noFill/>
                </a:ln>
                <a:solidFill>
                  <a:schemeClr val="bg1"/>
                </a:solidFill>
                <a:effectLst/>
                <a:uLnTx/>
                <a:uFillTx/>
                <a:latin typeface="Segoe Sans Text"/>
                <a:ea typeface="+mn-ea"/>
                <a:cs typeface="+mn-cs"/>
              </a:rPr>
              <a:t>) for a holistic evaluation.</a:t>
            </a:r>
          </a:p>
        </p:txBody>
      </p:sp>
      <p:sp>
        <p:nvSpPr>
          <p:cNvPr id="30" name="Rectangle: Rounded Corners 29">
            <a:extLst>
              <a:ext uri="{FF2B5EF4-FFF2-40B4-BE49-F238E27FC236}">
                <a16:creationId xmlns:a16="http://schemas.microsoft.com/office/drawing/2014/main" id="{68C8B2CA-71F6-3A58-A1CE-7A6877105FAE}"/>
              </a:ext>
            </a:extLst>
          </p:cNvPr>
          <p:cNvSpPr/>
          <p:nvPr/>
        </p:nvSpPr>
        <p:spPr>
          <a:xfrm>
            <a:off x="588264" y="3733564"/>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Keep in mind top K (@K) </a:t>
            </a:r>
            <a:b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b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trieved Chunks</a:t>
            </a:r>
          </a:p>
        </p:txBody>
      </p:sp>
      <p:sp>
        <p:nvSpPr>
          <p:cNvPr id="29" name="Freeform: Shape 28">
            <a:extLst>
              <a:ext uri="{FF2B5EF4-FFF2-40B4-BE49-F238E27FC236}">
                <a16:creationId xmlns:a16="http://schemas.microsoft.com/office/drawing/2014/main" id="{8DAFDA06-2AAE-7CE8-B356-5ABC7E0A8D14}"/>
              </a:ext>
            </a:extLst>
          </p:cNvPr>
          <p:cNvSpPr/>
          <p:nvPr/>
        </p:nvSpPr>
        <p:spPr>
          <a:xfrm>
            <a:off x="3456645" y="370485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Granular perspective on how many Chunks to retrieve.</a:t>
            </a:r>
          </a:p>
        </p:txBody>
      </p:sp>
      <p:sp>
        <p:nvSpPr>
          <p:cNvPr id="32" name="Rectangle: Rounded Corners 31">
            <a:extLst>
              <a:ext uri="{FF2B5EF4-FFF2-40B4-BE49-F238E27FC236}">
                <a16:creationId xmlns:a16="http://schemas.microsoft.com/office/drawing/2014/main" id="{525DD118-C761-E14D-9D78-1F1AA585F441}"/>
              </a:ext>
            </a:extLst>
          </p:cNvPr>
          <p:cNvSpPr/>
          <p:nvPr/>
        </p:nvSpPr>
        <p:spPr>
          <a:xfrm>
            <a:off x="588264" y="430260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mplement ranking metrics</a:t>
            </a:r>
          </a:p>
        </p:txBody>
      </p:sp>
      <p:sp>
        <p:nvSpPr>
          <p:cNvPr id="31" name="Freeform: Shape 30">
            <a:extLst>
              <a:ext uri="{FF2B5EF4-FFF2-40B4-BE49-F238E27FC236}">
                <a16:creationId xmlns:a16="http://schemas.microsoft.com/office/drawing/2014/main" id="{7CEEB39F-0FB5-6EAE-2855-6CF71A6B0B97}"/>
              </a:ext>
            </a:extLst>
          </p:cNvPr>
          <p:cNvSpPr/>
          <p:nvPr/>
        </p:nvSpPr>
        <p:spPr>
          <a:xfrm>
            <a:off x="3456645" y="427128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Utiliz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Recall@K</a:t>
            </a:r>
            <a:r>
              <a:rPr kumimoji="0" lang="en-US" sz="1200" b="0" i="0" u="none" strike="noStrike" kern="1200" cap="none" spc="0" normalizeH="0" baseline="0" noProof="0">
                <a:ln>
                  <a:noFill/>
                </a:ln>
                <a:solidFill>
                  <a:schemeClr val="bg1"/>
                </a:solidFill>
                <a:effectLst/>
                <a:uLnTx/>
                <a:uFillTx/>
                <a:latin typeface="Segoe Sans Text"/>
                <a:ea typeface="+mn-ea"/>
                <a:cs typeface="+mn-cs"/>
              </a:rPr>
              <a:t>, Mean Reciprocal Rank, Mean Avera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Precision@K</a:t>
            </a:r>
            <a:r>
              <a:rPr kumimoji="0" lang="en-US" sz="1200" b="0" i="0" u="none" strike="noStrike" kern="1200" cap="none" spc="0" normalizeH="0" baseline="0" noProof="0">
                <a:ln>
                  <a:noFill/>
                </a:ln>
                <a:solidFill>
                  <a:schemeClr val="bg1"/>
                </a:solidFill>
                <a:effectLst/>
                <a:uLnTx/>
                <a:uFillTx/>
                <a:latin typeface="Segoe Sans Text"/>
                <a:ea typeface="+mn-ea"/>
                <a:cs typeface="+mn-cs"/>
              </a:rPr>
              <a:t>, and Normalized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Discounted Cumulative Gain for assessing the ranking quality of the system.</a:t>
            </a:r>
          </a:p>
        </p:txBody>
      </p:sp>
      <p:sp>
        <p:nvSpPr>
          <p:cNvPr id="34" name="Rectangle: Rounded Corners 33">
            <a:extLst>
              <a:ext uri="{FF2B5EF4-FFF2-40B4-BE49-F238E27FC236}">
                <a16:creationId xmlns:a16="http://schemas.microsoft.com/office/drawing/2014/main" id="{33594509-61BC-2485-3542-ACFD5C4E0857}"/>
              </a:ext>
            </a:extLst>
          </p:cNvPr>
          <p:cNvSpPr/>
          <p:nvPr/>
        </p:nvSpPr>
        <p:spPr>
          <a:xfrm>
            <a:off x="588264" y="487164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gularly monitor performance</a:t>
            </a:r>
          </a:p>
        </p:txBody>
      </p:sp>
      <p:sp>
        <p:nvSpPr>
          <p:cNvPr id="33" name="Freeform: Shape 32">
            <a:extLst>
              <a:ext uri="{FF2B5EF4-FFF2-40B4-BE49-F238E27FC236}">
                <a16:creationId xmlns:a16="http://schemas.microsoft.com/office/drawing/2014/main" id="{F921723D-5808-3295-A78D-5862EB202DE3}"/>
              </a:ext>
            </a:extLst>
          </p:cNvPr>
          <p:cNvSpPr/>
          <p:nvPr/>
        </p:nvSpPr>
        <p:spPr>
          <a:xfrm>
            <a:off x="3456645" y="4837715"/>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tinuously track and optimize the system's performance using these metrics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to ensure the highest level of user satisfaction and system effectiveness.</a:t>
            </a:r>
          </a:p>
        </p:txBody>
      </p:sp>
      <p:sp>
        <p:nvSpPr>
          <p:cNvPr id="36" name="Rectangle: Rounded Corners 35">
            <a:extLst>
              <a:ext uri="{FF2B5EF4-FFF2-40B4-BE49-F238E27FC236}">
                <a16:creationId xmlns:a16="http://schemas.microsoft.com/office/drawing/2014/main" id="{A4E2C9B2-65C4-1391-8919-3051EDD2D9B3}"/>
              </a:ext>
            </a:extLst>
          </p:cNvPr>
          <p:cNvSpPr/>
          <p:nvPr/>
        </p:nvSpPr>
        <p:spPr>
          <a:xfrm>
            <a:off x="588264" y="5440679"/>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r feedback</a:t>
            </a:r>
          </a:p>
        </p:txBody>
      </p:sp>
      <p:sp>
        <p:nvSpPr>
          <p:cNvPr id="35" name="Freeform: Shape 34">
            <a:extLst>
              <a:ext uri="{FF2B5EF4-FFF2-40B4-BE49-F238E27FC236}">
                <a16:creationId xmlns:a16="http://schemas.microsoft.com/office/drawing/2014/main" id="{DCE1D4F8-2565-D43C-0874-9BE2CADBB670}"/>
              </a:ext>
            </a:extLst>
          </p:cNvPr>
          <p:cNvSpPr/>
          <p:nvPr/>
        </p:nvSpPr>
        <p:spPr>
          <a:xfrm>
            <a:off x="3456645" y="5404143"/>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Incorporate user feedback to improve system for utility.</a:t>
            </a:r>
          </a:p>
        </p:txBody>
      </p:sp>
      <p:sp>
        <p:nvSpPr>
          <p:cNvPr id="8" name="Text Placeholder 3">
            <a:extLst>
              <a:ext uri="{FF2B5EF4-FFF2-40B4-BE49-F238E27FC236}">
                <a16:creationId xmlns:a16="http://schemas.microsoft.com/office/drawing/2014/main" id="{40699EF0-F818-AEAC-D4DE-6744810E352E}"/>
              </a:ext>
            </a:extLst>
          </p:cNvPr>
          <p:cNvSpPr txBox="1">
            <a:spLocks/>
          </p:cNvSpPr>
          <p:nvPr/>
        </p:nvSpPr>
        <p:spPr>
          <a:xfrm>
            <a:off x="616571" y="6043816"/>
            <a:ext cx="10869087"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solidFill>
                  <a:schemeClr val="tx1"/>
                </a:solidFill>
                <a:latin typeface="Segoe Sans Text" pitchFamily="2" charset="0"/>
                <a:ea typeface="+mn-ea"/>
                <a:cs typeface="Segoe Sans Text" pitchFamily="2"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chemeClr val="tx1"/>
                </a:soli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solidFill>
                  <a:schemeClr val="tx1"/>
                </a:soli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
                <a:srgbClr val="000000"/>
              </a:buClr>
              <a:buSzPct val="90000"/>
              <a:buFont typeface="Wingdings" panose="05000000000000000000" pitchFamily="2" charset="2"/>
              <a:buNone/>
              <a:tabLst/>
              <a:defRPr/>
            </a:pP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zure’s RAG Evaluation Tool: </a:t>
            </a:r>
            <a:r>
              <a:rPr kumimoji="0" lang="en-US" sz="1600" b="0" i="0" u="none" strike="noStrike" kern="1200" cap="none" spc="0" normalizeH="0" baseline="0" noProof="0">
                <a:ln>
                  <a:noFill/>
                </a:ln>
                <a:solidFill>
                  <a:srgbClr val="00B0F0"/>
                </a:solidFill>
                <a:effectLst/>
                <a:uLnTx/>
                <a:uFillTx/>
                <a:latin typeface="Segoe Sans Text"/>
                <a:ea typeface="+mn-ea"/>
                <a:cs typeface="Segoe Sans Text" pitchFamily="2" charset="0"/>
                <a:hlinkClick r:id="rId3">
                  <a:extLst>
                    <a:ext uri="{A12FA001-AC4F-418D-AE19-62706E023703}">
                      <ahyp:hlinkClr xmlns:ahyp="http://schemas.microsoft.com/office/drawing/2018/hyperlinkcolor" val="tx"/>
                    </a:ext>
                  </a:extLst>
                </a:hlinkClick>
              </a:rPr>
              <a:t>Azure ML Prompt Flow</a:t>
            </a: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t>
            </a:r>
          </a:p>
        </p:txBody>
      </p:sp>
    </p:spTree>
    <p:extLst>
      <p:ext uri="{BB962C8B-B14F-4D97-AF65-F5344CB8AC3E}">
        <p14:creationId xmlns:p14="http://schemas.microsoft.com/office/powerpoint/2010/main" val="229388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750"/>
                                        <p:tgtEl>
                                          <p:spTgt spid="3"/>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250"/>
                                        <p:tgtEl>
                                          <p:spTgt spid="22"/>
                                        </p:tgtEl>
                                      </p:cBhvr>
                                    </p:animEffect>
                                  </p:childTnLst>
                                </p:cTn>
                              </p:par>
                              <p:par>
                                <p:cTn id="11" presetID="42" presetClass="path" presetSubtype="0" decel="100000" fill="hold" grpId="1" nodeType="withEffect">
                                  <p:stCondLst>
                                    <p:cond delay="200"/>
                                  </p:stCondLst>
                                  <p:childTnLst>
                                    <p:animMotion origin="layout" path="M -0.01719 -0.00023 L -1.25E-6 1.85185E-6 " pathEditMode="relative" rAng="0" ptsTypes="AA">
                                      <p:cBhvr>
                                        <p:cTn id="12" dur="500" fill="hold"/>
                                        <p:tgtEl>
                                          <p:spTgt spid="22"/>
                                        </p:tgtEl>
                                        <p:attrNameLst>
                                          <p:attrName>ppt_x</p:attrName>
                                          <p:attrName>ppt_y</p:attrName>
                                        </p:attrNameLst>
                                      </p:cBhvr>
                                      <p:rCtr x="859" y="0"/>
                                    </p:animMotion>
                                  </p:childTnLst>
                                </p:cTn>
                              </p:par>
                              <p:par>
                                <p:cTn id="13" presetID="10" presetClass="entr" presetSubtype="0" fill="hold" grpId="0" nodeType="withEffect">
                                  <p:stCondLst>
                                    <p:cond delay="40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250"/>
                                        <p:tgtEl>
                                          <p:spTgt spid="24"/>
                                        </p:tgtEl>
                                      </p:cBhvr>
                                    </p:animEffect>
                                  </p:childTnLst>
                                </p:cTn>
                              </p:par>
                              <p:par>
                                <p:cTn id="16" presetID="42" presetClass="path" presetSubtype="0" decel="100000" fill="hold" grpId="1" nodeType="withEffect">
                                  <p:stCondLst>
                                    <p:cond delay="400"/>
                                  </p:stCondLst>
                                  <p:childTnLst>
                                    <p:animMotion origin="layout" path="M -0.01719 -0.00023 L -1.25E-6 1.85185E-6 " pathEditMode="relative" rAng="0" ptsTypes="AA">
                                      <p:cBhvr>
                                        <p:cTn id="17" dur="500" fill="hold"/>
                                        <p:tgtEl>
                                          <p:spTgt spid="24"/>
                                        </p:tgtEl>
                                        <p:attrNameLst>
                                          <p:attrName>ppt_x</p:attrName>
                                          <p:attrName>ppt_y</p:attrName>
                                        </p:attrNameLst>
                                      </p:cBhvr>
                                      <p:rCtr x="859" y="0"/>
                                    </p:animMotion>
                                  </p:childTnLst>
                                </p:cTn>
                              </p:par>
                              <p:par>
                                <p:cTn id="18" presetID="10" presetClass="entr" presetSubtype="0" fill="hold" grpId="0" nodeType="withEffect">
                                  <p:stCondLst>
                                    <p:cond delay="60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250"/>
                                        <p:tgtEl>
                                          <p:spTgt spid="26"/>
                                        </p:tgtEl>
                                      </p:cBhvr>
                                    </p:animEffect>
                                  </p:childTnLst>
                                </p:cTn>
                              </p:par>
                              <p:par>
                                <p:cTn id="21" presetID="42" presetClass="path" presetSubtype="0" decel="100000" fill="hold" grpId="1" nodeType="withEffect">
                                  <p:stCondLst>
                                    <p:cond delay="600"/>
                                  </p:stCondLst>
                                  <p:childTnLst>
                                    <p:animMotion origin="layout" path="M -0.01719 -0.00023 L -1.25E-6 1.85185E-6 " pathEditMode="relative" rAng="0" ptsTypes="AA">
                                      <p:cBhvr>
                                        <p:cTn id="22" dur="500" fill="hold"/>
                                        <p:tgtEl>
                                          <p:spTgt spid="26"/>
                                        </p:tgtEl>
                                        <p:attrNameLst>
                                          <p:attrName>ppt_x</p:attrName>
                                          <p:attrName>ppt_y</p:attrName>
                                        </p:attrNameLst>
                                      </p:cBhvr>
                                      <p:rCtr x="859" y="0"/>
                                    </p:animMotion>
                                  </p:childTnLst>
                                </p:cTn>
                              </p:par>
                              <p:par>
                                <p:cTn id="23" presetID="10" presetClass="entr" presetSubtype="0" fill="hold" grpId="0" nodeType="withEffect">
                                  <p:stCondLst>
                                    <p:cond delay="80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250"/>
                                        <p:tgtEl>
                                          <p:spTgt spid="28"/>
                                        </p:tgtEl>
                                      </p:cBhvr>
                                    </p:animEffect>
                                  </p:childTnLst>
                                </p:cTn>
                              </p:par>
                              <p:par>
                                <p:cTn id="26" presetID="42" presetClass="path" presetSubtype="0" decel="100000" fill="hold" grpId="1" nodeType="withEffect">
                                  <p:stCondLst>
                                    <p:cond delay="800"/>
                                  </p:stCondLst>
                                  <p:childTnLst>
                                    <p:animMotion origin="layout" path="M -0.01719 -0.00023 L -1.25E-6 1.85185E-6 " pathEditMode="relative" rAng="0" ptsTypes="AA">
                                      <p:cBhvr>
                                        <p:cTn id="27" dur="500" fill="hold"/>
                                        <p:tgtEl>
                                          <p:spTgt spid="28"/>
                                        </p:tgtEl>
                                        <p:attrNameLst>
                                          <p:attrName>ppt_x</p:attrName>
                                          <p:attrName>ppt_y</p:attrName>
                                        </p:attrNameLst>
                                      </p:cBhvr>
                                      <p:rCtr x="859" y="0"/>
                                    </p:animMotion>
                                  </p:childTnLst>
                                </p:cTn>
                              </p:par>
                              <p:par>
                                <p:cTn id="28" presetID="10" presetClass="entr" presetSubtype="0" fill="hold" grpId="0" nodeType="withEffect">
                                  <p:stCondLst>
                                    <p:cond delay="100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250"/>
                                        <p:tgtEl>
                                          <p:spTgt spid="30"/>
                                        </p:tgtEl>
                                      </p:cBhvr>
                                    </p:animEffect>
                                  </p:childTnLst>
                                </p:cTn>
                              </p:par>
                              <p:par>
                                <p:cTn id="31" presetID="42" presetClass="path" presetSubtype="0" decel="100000" fill="hold" grpId="1" nodeType="withEffect">
                                  <p:stCondLst>
                                    <p:cond delay="1000"/>
                                  </p:stCondLst>
                                  <p:childTnLst>
                                    <p:animMotion origin="layout" path="M -0.01719 -0.00023 L -1.25E-6 1.85185E-6 " pathEditMode="relative" rAng="0" ptsTypes="AA">
                                      <p:cBhvr>
                                        <p:cTn id="32" dur="500" fill="hold"/>
                                        <p:tgtEl>
                                          <p:spTgt spid="30"/>
                                        </p:tgtEl>
                                        <p:attrNameLst>
                                          <p:attrName>ppt_x</p:attrName>
                                          <p:attrName>ppt_y</p:attrName>
                                        </p:attrNameLst>
                                      </p:cBhvr>
                                      <p:rCtr x="859" y="0"/>
                                    </p:animMotion>
                                  </p:childTnLst>
                                </p:cTn>
                              </p:par>
                              <p:par>
                                <p:cTn id="33" presetID="10" presetClass="entr" presetSubtype="0" fill="hold" grpId="0" nodeType="withEffect">
                                  <p:stCondLst>
                                    <p:cond delay="12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250"/>
                                        <p:tgtEl>
                                          <p:spTgt spid="32"/>
                                        </p:tgtEl>
                                      </p:cBhvr>
                                    </p:animEffect>
                                  </p:childTnLst>
                                </p:cTn>
                              </p:par>
                              <p:par>
                                <p:cTn id="36" presetID="42" presetClass="path" presetSubtype="0" decel="100000" fill="hold" grpId="1" nodeType="withEffect">
                                  <p:stCondLst>
                                    <p:cond delay="1200"/>
                                  </p:stCondLst>
                                  <p:childTnLst>
                                    <p:animMotion origin="layout" path="M -0.01719 -0.00023 L -1.25E-6 1.85185E-6 " pathEditMode="relative" rAng="0" ptsTypes="AA">
                                      <p:cBhvr>
                                        <p:cTn id="37" dur="500" fill="hold"/>
                                        <p:tgtEl>
                                          <p:spTgt spid="32"/>
                                        </p:tgtEl>
                                        <p:attrNameLst>
                                          <p:attrName>ppt_x</p:attrName>
                                          <p:attrName>ppt_y</p:attrName>
                                        </p:attrNameLst>
                                      </p:cBhvr>
                                      <p:rCtr x="859" y="0"/>
                                    </p:animMotion>
                                  </p:childTnLst>
                                </p:cTn>
                              </p:par>
                              <p:par>
                                <p:cTn id="38" presetID="10" presetClass="entr" presetSubtype="0" fill="hold" grpId="0" nodeType="withEffect">
                                  <p:stCondLst>
                                    <p:cond delay="14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50"/>
                                        <p:tgtEl>
                                          <p:spTgt spid="34"/>
                                        </p:tgtEl>
                                      </p:cBhvr>
                                    </p:animEffect>
                                  </p:childTnLst>
                                </p:cTn>
                              </p:par>
                              <p:par>
                                <p:cTn id="41" presetID="42" presetClass="path" presetSubtype="0" decel="100000" fill="hold" grpId="1" nodeType="withEffect">
                                  <p:stCondLst>
                                    <p:cond delay="1400"/>
                                  </p:stCondLst>
                                  <p:childTnLst>
                                    <p:animMotion origin="layout" path="M -0.01719 -0.00023 L -1.25E-6 1.85185E-6 " pathEditMode="relative" rAng="0" ptsTypes="AA">
                                      <p:cBhvr>
                                        <p:cTn id="42" dur="500" fill="hold"/>
                                        <p:tgtEl>
                                          <p:spTgt spid="34"/>
                                        </p:tgtEl>
                                        <p:attrNameLst>
                                          <p:attrName>ppt_x</p:attrName>
                                          <p:attrName>ppt_y</p:attrName>
                                        </p:attrNameLst>
                                      </p:cBhvr>
                                      <p:rCtr x="859" y="0"/>
                                    </p:animMotion>
                                  </p:childTnLst>
                                </p:cTn>
                              </p:par>
                              <p:par>
                                <p:cTn id="43" presetID="10" presetClass="entr" presetSubtype="0" fill="hold" grpId="0" nodeType="withEffect">
                                  <p:stCondLst>
                                    <p:cond delay="160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250"/>
                                        <p:tgtEl>
                                          <p:spTgt spid="36"/>
                                        </p:tgtEl>
                                      </p:cBhvr>
                                    </p:animEffect>
                                  </p:childTnLst>
                                </p:cTn>
                              </p:par>
                              <p:par>
                                <p:cTn id="46" presetID="42" presetClass="path" presetSubtype="0" decel="100000" fill="hold" grpId="1" nodeType="withEffect">
                                  <p:stCondLst>
                                    <p:cond delay="1600"/>
                                  </p:stCondLst>
                                  <p:childTnLst>
                                    <p:animMotion origin="layout" path="M -0.01719 -0.00023 L -1.25E-6 1.85185E-6 " pathEditMode="relative" rAng="0" ptsTypes="AA">
                                      <p:cBhvr>
                                        <p:cTn id="47" dur="500" fill="hold"/>
                                        <p:tgtEl>
                                          <p:spTgt spid="36"/>
                                        </p:tgtEl>
                                        <p:attrNameLst>
                                          <p:attrName>ppt_x</p:attrName>
                                          <p:attrName>ppt_y</p:attrName>
                                        </p:attrNameLst>
                                      </p:cBhvr>
                                      <p:rCtr x="859" y="0"/>
                                    </p:animMotion>
                                  </p:childTnLst>
                                </p:cTn>
                              </p:par>
                              <p:par>
                                <p:cTn id="48" presetID="10" presetClass="entr" presetSubtype="0" fill="hold" grpId="0" nodeType="withEffect">
                                  <p:stCondLst>
                                    <p:cond delay="20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250"/>
                                        <p:tgtEl>
                                          <p:spTgt spid="21"/>
                                        </p:tgtEl>
                                      </p:cBhvr>
                                    </p:animEffect>
                                  </p:childTnLst>
                                </p:cTn>
                              </p:par>
                              <p:par>
                                <p:cTn id="51" presetID="42" presetClass="path" presetSubtype="0" decel="100000" fill="hold" grpId="1" nodeType="withEffect">
                                  <p:stCondLst>
                                    <p:cond delay="200"/>
                                  </p:stCondLst>
                                  <p:childTnLst>
                                    <p:animMotion origin="layout" path="M 0.01666 -0.00046 L 3.75E-6 1.85185E-6 " pathEditMode="relative" rAng="0" ptsTypes="AA">
                                      <p:cBhvr>
                                        <p:cTn id="52" dur="500" fill="hold"/>
                                        <p:tgtEl>
                                          <p:spTgt spid="21"/>
                                        </p:tgtEl>
                                        <p:attrNameLst>
                                          <p:attrName>ppt_x</p:attrName>
                                          <p:attrName>ppt_y</p:attrName>
                                        </p:attrNameLst>
                                      </p:cBhvr>
                                      <p:rCtr x="-833" y="23"/>
                                    </p:animMotion>
                                  </p:childTnLst>
                                </p:cTn>
                              </p:par>
                              <p:par>
                                <p:cTn id="53" presetID="10" presetClass="entr" presetSubtype="0" fill="hold" grpId="0" nodeType="withEffect">
                                  <p:stCondLst>
                                    <p:cond delay="40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250"/>
                                        <p:tgtEl>
                                          <p:spTgt spid="23"/>
                                        </p:tgtEl>
                                      </p:cBhvr>
                                    </p:animEffect>
                                  </p:childTnLst>
                                </p:cTn>
                              </p:par>
                              <p:par>
                                <p:cTn id="56" presetID="42" presetClass="path" presetSubtype="0" decel="100000" fill="hold" grpId="1" nodeType="withEffect">
                                  <p:stCondLst>
                                    <p:cond delay="400"/>
                                  </p:stCondLst>
                                  <p:childTnLst>
                                    <p:animMotion origin="layout" path="M 0.01666 -0.00046 L 3.75E-6 1.85185E-6 " pathEditMode="relative" rAng="0" ptsTypes="AA">
                                      <p:cBhvr>
                                        <p:cTn id="57" dur="500" fill="hold"/>
                                        <p:tgtEl>
                                          <p:spTgt spid="23"/>
                                        </p:tgtEl>
                                        <p:attrNameLst>
                                          <p:attrName>ppt_x</p:attrName>
                                          <p:attrName>ppt_y</p:attrName>
                                        </p:attrNameLst>
                                      </p:cBhvr>
                                      <p:rCtr x="-833" y="23"/>
                                    </p:animMotion>
                                  </p:childTnLst>
                                </p:cTn>
                              </p:par>
                              <p:par>
                                <p:cTn id="58" presetID="10" presetClass="entr" presetSubtype="0" fill="hold" grpId="0" nodeType="withEffect">
                                  <p:stCondLst>
                                    <p:cond delay="60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250"/>
                                        <p:tgtEl>
                                          <p:spTgt spid="25"/>
                                        </p:tgtEl>
                                      </p:cBhvr>
                                    </p:animEffect>
                                  </p:childTnLst>
                                </p:cTn>
                              </p:par>
                              <p:par>
                                <p:cTn id="61" presetID="42" presetClass="path" presetSubtype="0" decel="100000" fill="hold" grpId="1" nodeType="withEffect">
                                  <p:stCondLst>
                                    <p:cond delay="600"/>
                                  </p:stCondLst>
                                  <p:childTnLst>
                                    <p:animMotion origin="layout" path="M 0.01666 -0.00046 L 3.75E-6 1.85185E-6 " pathEditMode="relative" rAng="0" ptsTypes="AA">
                                      <p:cBhvr>
                                        <p:cTn id="62" dur="500" fill="hold"/>
                                        <p:tgtEl>
                                          <p:spTgt spid="25"/>
                                        </p:tgtEl>
                                        <p:attrNameLst>
                                          <p:attrName>ppt_x</p:attrName>
                                          <p:attrName>ppt_y</p:attrName>
                                        </p:attrNameLst>
                                      </p:cBhvr>
                                      <p:rCtr x="-833" y="23"/>
                                    </p:animMotion>
                                  </p:childTnLst>
                                </p:cTn>
                              </p:par>
                              <p:par>
                                <p:cTn id="63" presetID="10" presetClass="entr" presetSubtype="0" fill="hold" grpId="0" nodeType="withEffect">
                                  <p:stCondLst>
                                    <p:cond delay="8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250"/>
                                        <p:tgtEl>
                                          <p:spTgt spid="27"/>
                                        </p:tgtEl>
                                      </p:cBhvr>
                                    </p:animEffect>
                                  </p:childTnLst>
                                </p:cTn>
                              </p:par>
                              <p:par>
                                <p:cTn id="66" presetID="42" presetClass="path" presetSubtype="0" decel="100000" fill="hold" grpId="1" nodeType="withEffect">
                                  <p:stCondLst>
                                    <p:cond delay="800"/>
                                  </p:stCondLst>
                                  <p:childTnLst>
                                    <p:animMotion origin="layout" path="M 0.01666 -0.00046 L 3.75E-6 1.85185E-6 " pathEditMode="relative" rAng="0" ptsTypes="AA">
                                      <p:cBhvr>
                                        <p:cTn id="67" dur="500" fill="hold"/>
                                        <p:tgtEl>
                                          <p:spTgt spid="27"/>
                                        </p:tgtEl>
                                        <p:attrNameLst>
                                          <p:attrName>ppt_x</p:attrName>
                                          <p:attrName>ppt_y</p:attrName>
                                        </p:attrNameLst>
                                      </p:cBhvr>
                                      <p:rCtr x="-833" y="23"/>
                                    </p:animMotion>
                                  </p:childTnLst>
                                </p:cTn>
                              </p:par>
                              <p:par>
                                <p:cTn id="68" presetID="10" presetClass="entr" presetSubtype="0" fill="hold" grpId="0" nodeType="withEffect">
                                  <p:stCondLst>
                                    <p:cond delay="100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250"/>
                                        <p:tgtEl>
                                          <p:spTgt spid="29"/>
                                        </p:tgtEl>
                                      </p:cBhvr>
                                    </p:animEffect>
                                  </p:childTnLst>
                                </p:cTn>
                              </p:par>
                              <p:par>
                                <p:cTn id="71" presetID="42" presetClass="path" presetSubtype="0" decel="100000" fill="hold" grpId="1" nodeType="withEffect">
                                  <p:stCondLst>
                                    <p:cond delay="1000"/>
                                  </p:stCondLst>
                                  <p:childTnLst>
                                    <p:animMotion origin="layout" path="M 0.01666 -0.00046 L 3.75E-6 1.85185E-6 " pathEditMode="relative" rAng="0" ptsTypes="AA">
                                      <p:cBhvr>
                                        <p:cTn id="72" dur="500" fill="hold"/>
                                        <p:tgtEl>
                                          <p:spTgt spid="29"/>
                                        </p:tgtEl>
                                        <p:attrNameLst>
                                          <p:attrName>ppt_x</p:attrName>
                                          <p:attrName>ppt_y</p:attrName>
                                        </p:attrNameLst>
                                      </p:cBhvr>
                                      <p:rCtr x="-833" y="23"/>
                                    </p:animMotion>
                                  </p:childTnLst>
                                </p:cTn>
                              </p:par>
                              <p:par>
                                <p:cTn id="73" presetID="10" presetClass="entr" presetSubtype="0" fill="hold" grpId="0" nodeType="withEffect">
                                  <p:stCondLst>
                                    <p:cond delay="120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250"/>
                                        <p:tgtEl>
                                          <p:spTgt spid="31"/>
                                        </p:tgtEl>
                                      </p:cBhvr>
                                    </p:animEffect>
                                  </p:childTnLst>
                                </p:cTn>
                              </p:par>
                              <p:par>
                                <p:cTn id="76" presetID="42" presetClass="path" presetSubtype="0" decel="100000" fill="hold" grpId="1" nodeType="withEffect">
                                  <p:stCondLst>
                                    <p:cond delay="1200"/>
                                  </p:stCondLst>
                                  <p:childTnLst>
                                    <p:animMotion origin="layout" path="M 0.01666 -0.00046 L 3.75E-6 1.85185E-6 " pathEditMode="relative" rAng="0" ptsTypes="AA">
                                      <p:cBhvr>
                                        <p:cTn id="77" dur="500" fill="hold"/>
                                        <p:tgtEl>
                                          <p:spTgt spid="31"/>
                                        </p:tgtEl>
                                        <p:attrNameLst>
                                          <p:attrName>ppt_x</p:attrName>
                                          <p:attrName>ppt_y</p:attrName>
                                        </p:attrNameLst>
                                      </p:cBhvr>
                                      <p:rCtr x="-833" y="23"/>
                                    </p:animMotion>
                                  </p:childTnLst>
                                </p:cTn>
                              </p:par>
                              <p:par>
                                <p:cTn id="78" presetID="10" presetClass="entr" presetSubtype="0" fill="hold" grpId="0" nodeType="withEffect">
                                  <p:stCondLst>
                                    <p:cond delay="1400"/>
                                  </p:stCondLst>
                                  <p:childTnLst>
                                    <p:set>
                                      <p:cBhvr>
                                        <p:cTn id="79" dur="1" fill="hold">
                                          <p:stCondLst>
                                            <p:cond delay="0"/>
                                          </p:stCondLst>
                                        </p:cTn>
                                        <p:tgtEl>
                                          <p:spTgt spid="33"/>
                                        </p:tgtEl>
                                        <p:attrNameLst>
                                          <p:attrName>style.visibility</p:attrName>
                                        </p:attrNameLst>
                                      </p:cBhvr>
                                      <p:to>
                                        <p:strVal val="visible"/>
                                      </p:to>
                                    </p:set>
                                    <p:animEffect transition="in" filter="fade">
                                      <p:cBhvr>
                                        <p:cTn id="80" dur="250"/>
                                        <p:tgtEl>
                                          <p:spTgt spid="33"/>
                                        </p:tgtEl>
                                      </p:cBhvr>
                                    </p:animEffect>
                                  </p:childTnLst>
                                </p:cTn>
                              </p:par>
                              <p:par>
                                <p:cTn id="81" presetID="42" presetClass="path" presetSubtype="0" decel="100000" fill="hold" grpId="1" nodeType="withEffect">
                                  <p:stCondLst>
                                    <p:cond delay="1400"/>
                                  </p:stCondLst>
                                  <p:childTnLst>
                                    <p:animMotion origin="layout" path="M 0.01666 -0.00046 L 3.75E-6 1.85185E-6 " pathEditMode="relative" rAng="0" ptsTypes="AA">
                                      <p:cBhvr>
                                        <p:cTn id="82" dur="500" fill="hold"/>
                                        <p:tgtEl>
                                          <p:spTgt spid="33"/>
                                        </p:tgtEl>
                                        <p:attrNameLst>
                                          <p:attrName>ppt_x</p:attrName>
                                          <p:attrName>ppt_y</p:attrName>
                                        </p:attrNameLst>
                                      </p:cBhvr>
                                      <p:rCtr x="-833" y="23"/>
                                    </p:animMotion>
                                  </p:childTnLst>
                                </p:cTn>
                              </p:par>
                              <p:par>
                                <p:cTn id="83" presetID="10" presetClass="entr" presetSubtype="0" fill="hold" grpId="0" nodeType="withEffect">
                                  <p:stCondLst>
                                    <p:cond delay="160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250"/>
                                        <p:tgtEl>
                                          <p:spTgt spid="35"/>
                                        </p:tgtEl>
                                      </p:cBhvr>
                                    </p:animEffect>
                                  </p:childTnLst>
                                </p:cTn>
                              </p:par>
                              <p:par>
                                <p:cTn id="86" presetID="42" presetClass="path" presetSubtype="0" decel="100000" fill="hold" grpId="1" nodeType="withEffect">
                                  <p:stCondLst>
                                    <p:cond delay="1600"/>
                                  </p:stCondLst>
                                  <p:childTnLst>
                                    <p:animMotion origin="layout" path="M 0.01666 -0.00046 L 3.75E-6 1.85185E-6 " pathEditMode="relative" rAng="0" ptsTypes="AA">
                                      <p:cBhvr>
                                        <p:cTn id="87" dur="500" fill="hold"/>
                                        <p:tgtEl>
                                          <p:spTgt spid="35"/>
                                        </p:tgtEl>
                                        <p:attrNameLst>
                                          <p:attrName>ppt_x</p:attrName>
                                          <p:attrName>ppt_y</p:attrName>
                                        </p:attrNameLst>
                                      </p:cBhvr>
                                      <p:rCtr x="-833" y="23"/>
                                    </p:animMotion>
                                  </p:childTnLst>
                                </p:cTn>
                              </p:par>
                              <p:par>
                                <p:cTn id="88" presetID="10" presetClass="entr" presetSubtype="0" fill="hold" grpId="0" nodeType="withEffect">
                                  <p:stCondLst>
                                    <p:cond delay="160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1" grpId="0"/>
      <p:bldP spid="21" grpId="1"/>
      <p:bldP spid="24" grpId="0" animBg="1"/>
      <p:bldP spid="24" grpId="1" animBg="1"/>
      <p:bldP spid="23" grpId="0"/>
      <p:bldP spid="23" grpId="1"/>
      <p:bldP spid="26" grpId="0" animBg="1"/>
      <p:bldP spid="26" grpId="1" animBg="1"/>
      <p:bldP spid="25" grpId="0"/>
      <p:bldP spid="25" grpId="1"/>
      <p:bldP spid="28" grpId="0" animBg="1"/>
      <p:bldP spid="28" grpId="1" animBg="1"/>
      <p:bldP spid="27" grpId="0"/>
      <p:bldP spid="27" grpId="1"/>
      <p:bldP spid="30" grpId="0" animBg="1"/>
      <p:bldP spid="30" grpId="1" animBg="1"/>
      <p:bldP spid="29" grpId="0"/>
      <p:bldP spid="29" grpId="1"/>
      <p:bldP spid="32" grpId="0" animBg="1"/>
      <p:bldP spid="32" grpId="1" animBg="1"/>
      <p:bldP spid="31" grpId="0"/>
      <p:bldP spid="31" grpId="1"/>
      <p:bldP spid="34" grpId="0" animBg="1"/>
      <p:bldP spid="34" grpId="1" animBg="1"/>
      <p:bldP spid="33" grpId="0"/>
      <p:bldP spid="33" grpId="1"/>
      <p:bldP spid="36" grpId="0" animBg="1"/>
      <p:bldP spid="36" grpId="1" animBg="1"/>
      <p:bldP spid="35" grpId="0"/>
      <p:bldP spid="35" grpId="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51" name="Rectangle: Rounded Corners 50">
            <a:extLst>
              <a:ext uri="{FF2B5EF4-FFF2-40B4-BE49-F238E27FC236}">
                <a16:creationId xmlns:a16="http://schemas.microsoft.com/office/drawing/2014/main" id="{9CEF2B0F-2AC0-2BB9-01C7-E014220830EA}"/>
              </a:ext>
              <a:ext uri="{C183D7F6-B498-43B3-948B-1728B52AA6E4}">
                <adec:decorative xmlns:adec="http://schemas.microsoft.com/office/drawing/2017/decorative" val="1"/>
              </a:ext>
            </a:extLst>
          </p:cNvPr>
          <p:cNvSpPr>
            <a:spLocks/>
          </p:cNvSpPr>
          <p:nvPr/>
        </p:nvSpPr>
        <p:spPr bwMode="auto">
          <a:xfrm>
            <a:off x="571500" y="1122928"/>
            <a:ext cx="11049000" cy="3696425"/>
          </a:xfrm>
          <a:prstGeom prst="roundRect">
            <a:avLst>
              <a:gd name="adj" fmla="val 3013"/>
            </a:avLst>
          </a:prstGeom>
          <a:solidFill>
            <a:srgbClr val="10374E"/>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cxnSp>
        <p:nvCxnSpPr>
          <p:cNvPr id="5" name="Straight Arrow Connector 4">
            <a:extLst>
              <a:ext uri="{FF2B5EF4-FFF2-40B4-BE49-F238E27FC236}">
                <a16:creationId xmlns:a16="http://schemas.microsoft.com/office/drawing/2014/main" id="{7A9AA6F1-F517-DBA9-7B18-4C286D61F369}"/>
              </a:ext>
              <a:ext uri="{C183D7F6-B498-43B3-948B-1728B52AA6E4}">
                <adec:decorative xmlns:adec="http://schemas.microsoft.com/office/drawing/2017/decorative" val="1"/>
              </a:ext>
            </a:extLst>
          </p:cNvPr>
          <p:cNvCxnSpPr>
            <a:cxnSpLocks/>
          </p:cNvCxnSpPr>
          <p:nvPr/>
        </p:nvCxnSpPr>
        <p:spPr>
          <a:xfrm rot="10800000" flipH="1">
            <a:off x="4609164" y="2464988"/>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 name="Left Brace 6">
            <a:extLst>
              <a:ext uri="{FF2B5EF4-FFF2-40B4-BE49-F238E27FC236}">
                <a16:creationId xmlns:a16="http://schemas.microsoft.com/office/drawing/2014/main" id="{7AB7B54D-9A65-E3A6-4E4C-2B0C4CC17422}"/>
              </a:ext>
              <a:ext uri="{C183D7F6-B498-43B3-948B-1728B52AA6E4}">
                <adec:decorative xmlns:adec="http://schemas.microsoft.com/office/drawing/2017/decorative" val="1"/>
              </a:ext>
            </a:extLst>
          </p:cNvPr>
          <p:cNvSpPr/>
          <p:nvPr/>
        </p:nvSpPr>
        <p:spPr>
          <a:xfrm>
            <a:off x="3281925" y="1825854"/>
            <a:ext cx="270299" cy="1696371"/>
          </a:xfrm>
          <a:prstGeom prst="leftBrace">
            <a:avLst>
              <a:gd name="adj1" fmla="val 70202"/>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cxnSp>
        <p:nvCxnSpPr>
          <p:cNvPr id="9" name="Straight Arrow Connector 8">
            <a:extLst>
              <a:ext uri="{FF2B5EF4-FFF2-40B4-BE49-F238E27FC236}">
                <a16:creationId xmlns:a16="http://schemas.microsoft.com/office/drawing/2014/main" id="{884E7276-D306-0E82-FD8F-6B07F285D5F2}"/>
              </a:ext>
              <a:ext uri="{C183D7F6-B498-43B3-948B-1728B52AA6E4}">
                <adec:decorative xmlns:adec="http://schemas.microsoft.com/office/drawing/2017/decorative" val="1"/>
              </a:ext>
            </a:extLst>
          </p:cNvPr>
          <p:cNvCxnSpPr>
            <a:cxnSpLocks/>
          </p:cNvCxnSpPr>
          <p:nvPr/>
        </p:nvCxnSpPr>
        <p:spPr>
          <a:xfrm>
            <a:off x="2934853" y="2674039"/>
            <a:ext cx="304502"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7141466-5E07-7818-FB3D-215398518C7C}"/>
              </a:ext>
              <a:ext uri="{C183D7F6-B498-43B3-948B-1728B52AA6E4}">
                <adec:decorative xmlns:adec="http://schemas.microsoft.com/office/drawing/2017/decorative" val="1"/>
              </a:ext>
            </a:extLst>
          </p:cNvPr>
          <p:cNvGrpSpPr/>
          <p:nvPr/>
        </p:nvGrpSpPr>
        <p:grpSpPr>
          <a:xfrm>
            <a:off x="3546839" y="1893179"/>
            <a:ext cx="1093934" cy="1704309"/>
            <a:chOff x="4359240" y="2721000"/>
            <a:chExt cx="1043338" cy="1642648"/>
          </a:xfrm>
        </p:grpSpPr>
        <p:grpSp>
          <p:nvGrpSpPr>
            <p:cNvPr id="17" name="Group 16">
              <a:extLst>
                <a:ext uri="{FF2B5EF4-FFF2-40B4-BE49-F238E27FC236}">
                  <a16:creationId xmlns:a16="http://schemas.microsoft.com/office/drawing/2014/main" id="{705C3937-D46D-0D1F-5F5B-BDFFEA3D39EF}"/>
                </a:ext>
              </a:extLst>
            </p:cNvPr>
            <p:cNvGrpSpPr/>
            <p:nvPr/>
          </p:nvGrpSpPr>
          <p:grpSpPr>
            <a:xfrm>
              <a:off x="4359240" y="2721000"/>
              <a:ext cx="234010" cy="1503359"/>
              <a:chOff x="4359240" y="2721000"/>
              <a:chExt cx="234010" cy="1503359"/>
            </a:xfrm>
          </p:grpSpPr>
          <p:pic>
            <p:nvPicPr>
              <p:cNvPr id="23" name="Picture 22">
                <a:extLst>
                  <a:ext uri="{FF2B5EF4-FFF2-40B4-BE49-F238E27FC236}">
                    <a16:creationId xmlns:a16="http://schemas.microsoft.com/office/drawing/2014/main" id="{6A61859B-FC05-D3F8-75EC-6BE6985B35F4}"/>
                  </a:ext>
                </a:extLst>
              </p:cNvPr>
              <p:cNvPicPr>
                <a:picLocks noChangeAspect="1"/>
              </p:cNvPicPr>
              <p:nvPr/>
            </p:nvPicPr>
            <p:blipFill>
              <a:blip r:embed="rId3"/>
              <a:stretch>
                <a:fillRect/>
              </a:stretch>
            </p:blipFill>
            <p:spPr>
              <a:xfrm>
                <a:off x="4359240" y="272100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4" name="Picture 23">
                <a:extLst>
                  <a:ext uri="{FF2B5EF4-FFF2-40B4-BE49-F238E27FC236}">
                    <a16:creationId xmlns:a16="http://schemas.microsoft.com/office/drawing/2014/main" id="{8048B95E-0C67-1B39-B185-27D9D10DB06E}"/>
                  </a:ext>
                </a:extLst>
              </p:cNvPr>
              <p:cNvPicPr>
                <a:picLocks noChangeAspect="1"/>
              </p:cNvPicPr>
              <p:nvPr/>
            </p:nvPicPr>
            <p:blipFill>
              <a:blip r:embed="rId3"/>
              <a:stretch>
                <a:fillRect/>
              </a:stretch>
            </p:blipFill>
            <p:spPr>
              <a:xfrm>
                <a:off x="4359240" y="3136335"/>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5" name="Picture 24">
                <a:extLst>
                  <a:ext uri="{FF2B5EF4-FFF2-40B4-BE49-F238E27FC236}">
                    <a16:creationId xmlns:a16="http://schemas.microsoft.com/office/drawing/2014/main" id="{8051E810-3E13-243B-4F6C-EA5C88990E87}"/>
                  </a:ext>
                </a:extLst>
              </p:cNvPr>
              <p:cNvPicPr>
                <a:picLocks noChangeAspect="1"/>
              </p:cNvPicPr>
              <p:nvPr/>
            </p:nvPicPr>
            <p:blipFill>
              <a:blip r:embed="rId3"/>
              <a:stretch>
                <a:fillRect/>
              </a:stretch>
            </p:blipFill>
            <p:spPr>
              <a:xfrm>
                <a:off x="4359240" y="3533751"/>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6" name="Picture 25">
                <a:extLst>
                  <a:ext uri="{FF2B5EF4-FFF2-40B4-BE49-F238E27FC236}">
                    <a16:creationId xmlns:a16="http://schemas.microsoft.com/office/drawing/2014/main" id="{FECE152F-6FD1-2D41-8318-F0D351197281}"/>
                  </a:ext>
                </a:extLst>
              </p:cNvPr>
              <p:cNvPicPr>
                <a:picLocks noChangeAspect="1"/>
              </p:cNvPicPr>
              <p:nvPr/>
            </p:nvPicPr>
            <p:blipFill>
              <a:blip r:embed="rId3"/>
              <a:stretch>
                <a:fillRect/>
              </a:stretch>
            </p:blipFill>
            <p:spPr>
              <a:xfrm>
                <a:off x="4359240" y="394071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grpSp>
        <p:grpSp>
          <p:nvGrpSpPr>
            <p:cNvPr id="18" name="Group 17">
              <a:extLst>
                <a:ext uri="{FF2B5EF4-FFF2-40B4-BE49-F238E27FC236}">
                  <a16:creationId xmlns:a16="http://schemas.microsoft.com/office/drawing/2014/main" id="{582ACE61-C8A4-9B43-0B69-7D41771509DB}"/>
                </a:ext>
              </a:extLst>
            </p:cNvPr>
            <p:cNvGrpSpPr/>
            <p:nvPr/>
          </p:nvGrpSpPr>
          <p:grpSpPr>
            <a:xfrm>
              <a:off x="4655436" y="2738919"/>
              <a:ext cx="747142" cy="1624729"/>
              <a:chOff x="4655436" y="2738919"/>
              <a:chExt cx="747142" cy="1624729"/>
            </a:xfrm>
          </p:grpSpPr>
          <p:sp>
            <p:nvSpPr>
              <p:cNvPr id="19" name="TextBox 18">
                <a:extLst>
                  <a:ext uri="{FF2B5EF4-FFF2-40B4-BE49-F238E27FC236}">
                    <a16:creationId xmlns:a16="http://schemas.microsoft.com/office/drawing/2014/main" id="{125791E2-AFF9-B792-174C-DDF898FFD528}"/>
                  </a:ext>
                  <a:ext uri="{C183D7F6-B498-43B3-948B-1728B52AA6E4}">
                    <adec:decorative xmlns:adec="http://schemas.microsoft.com/office/drawing/2017/decorative" val="1"/>
                  </a:ext>
                </a:extLst>
              </p:cNvPr>
              <p:cNvSpPr txBox="1"/>
              <p:nvPr/>
            </p:nvSpPr>
            <p:spPr>
              <a:xfrm>
                <a:off x="4655436" y="2738919"/>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0" name="TextBox 19">
                <a:extLst>
                  <a:ext uri="{FF2B5EF4-FFF2-40B4-BE49-F238E27FC236}">
                    <a16:creationId xmlns:a16="http://schemas.microsoft.com/office/drawing/2014/main" id="{ECEFE8C9-0F26-9FA1-4F50-7C57BD010361}"/>
                  </a:ext>
                  <a:ext uri="{C183D7F6-B498-43B3-948B-1728B52AA6E4}">
                    <adec:decorative xmlns:adec="http://schemas.microsoft.com/office/drawing/2017/decorative" val="1"/>
                  </a:ext>
                </a:extLst>
              </p:cNvPr>
              <p:cNvSpPr txBox="1"/>
              <p:nvPr/>
            </p:nvSpPr>
            <p:spPr>
              <a:xfrm>
                <a:off x="4655436" y="3136335"/>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1" name="TextBox 20">
                <a:extLst>
                  <a:ext uri="{FF2B5EF4-FFF2-40B4-BE49-F238E27FC236}">
                    <a16:creationId xmlns:a16="http://schemas.microsoft.com/office/drawing/2014/main" id="{EE1853A2-BC99-3C9C-C205-660822A0FFC0}"/>
                  </a:ext>
                  <a:ext uri="{C183D7F6-B498-43B3-948B-1728B52AA6E4}">
                    <adec:decorative xmlns:adec="http://schemas.microsoft.com/office/drawing/2017/decorative" val="1"/>
                  </a:ext>
                </a:extLst>
              </p:cNvPr>
              <p:cNvSpPr txBox="1"/>
              <p:nvPr/>
            </p:nvSpPr>
            <p:spPr>
              <a:xfrm>
                <a:off x="4655436" y="3543294"/>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2" name="TextBox 21">
                <a:extLst>
                  <a:ext uri="{FF2B5EF4-FFF2-40B4-BE49-F238E27FC236}">
                    <a16:creationId xmlns:a16="http://schemas.microsoft.com/office/drawing/2014/main" id="{37CEB1C1-89F7-2C2D-4E33-AC70434406BB}"/>
                  </a:ext>
                  <a:ext uri="{C183D7F6-B498-43B3-948B-1728B52AA6E4}">
                    <adec:decorative xmlns:adec="http://schemas.microsoft.com/office/drawing/2017/decorative" val="1"/>
                  </a:ext>
                </a:extLst>
              </p:cNvPr>
              <p:cNvSpPr txBox="1"/>
              <p:nvPr/>
            </p:nvSpPr>
            <p:spPr>
              <a:xfrm>
                <a:off x="4655436" y="3963538"/>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grpSp>
      </p:grpSp>
      <p:grpSp>
        <p:nvGrpSpPr>
          <p:cNvPr id="31" name="Group 30">
            <a:extLst>
              <a:ext uri="{FF2B5EF4-FFF2-40B4-BE49-F238E27FC236}">
                <a16:creationId xmlns:a16="http://schemas.microsoft.com/office/drawing/2014/main" id="{D27C7CCE-4116-8B99-3400-664EF4FE129E}"/>
              </a:ext>
              <a:ext uri="{C183D7F6-B498-43B3-948B-1728B52AA6E4}">
                <adec:decorative xmlns:adec="http://schemas.microsoft.com/office/drawing/2017/decorative" val="1"/>
              </a:ext>
            </a:extLst>
          </p:cNvPr>
          <p:cNvGrpSpPr/>
          <p:nvPr/>
        </p:nvGrpSpPr>
        <p:grpSpPr>
          <a:xfrm>
            <a:off x="10768691" y="1928519"/>
            <a:ext cx="493324" cy="374256"/>
            <a:chOff x="4764224" y="2905396"/>
            <a:chExt cx="614227" cy="470896"/>
          </a:xfrm>
        </p:grpSpPr>
        <p:grpSp>
          <p:nvGrpSpPr>
            <p:cNvPr id="35" name="Group 34">
              <a:extLst>
                <a:ext uri="{FF2B5EF4-FFF2-40B4-BE49-F238E27FC236}">
                  <a16:creationId xmlns:a16="http://schemas.microsoft.com/office/drawing/2014/main" id="{9AE049FB-2925-B1EF-7B0D-30FF15D30EDE}"/>
                </a:ext>
              </a:extLst>
            </p:cNvPr>
            <p:cNvGrpSpPr/>
            <p:nvPr/>
          </p:nvGrpSpPr>
          <p:grpSpPr>
            <a:xfrm>
              <a:off x="4764224" y="2988149"/>
              <a:ext cx="347088" cy="388143"/>
              <a:chOff x="1175042" y="1972326"/>
              <a:chExt cx="147106" cy="164506"/>
            </a:xfrm>
            <a:solidFill>
              <a:srgbClr val="409AE1"/>
            </a:solidFill>
          </p:grpSpPr>
          <p:sp>
            <p:nvSpPr>
              <p:cNvPr id="40" name="Freeform 5">
                <a:extLst>
                  <a:ext uri="{FF2B5EF4-FFF2-40B4-BE49-F238E27FC236}">
                    <a16:creationId xmlns:a16="http://schemas.microsoft.com/office/drawing/2014/main" id="{4D472F4D-1AF4-8F4C-ADAD-965911DB9EF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41" name="Oval 40">
                <a:extLst>
                  <a:ext uri="{FF2B5EF4-FFF2-40B4-BE49-F238E27FC236}">
                    <a16:creationId xmlns:a16="http://schemas.microsoft.com/office/drawing/2014/main" id="{CC599C7A-44BB-206B-12E5-371A0F62B95D}"/>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6" name="Group 35">
              <a:extLst>
                <a:ext uri="{FF2B5EF4-FFF2-40B4-BE49-F238E27FC236}">
                  <a16:creationId xmlns:a16="http://schemas.microsoft.com/office/drawing/2014/main" id="{A17E7A13-DF78-DC9A-BB5D-E0F37218710F}"/>
                </a:ext>
              </a:extLst>
            </p:cNvPr>
            <p:cNvGrpSpPr/>
            <p:nvPr/>
          </p:nvGrpSpPr>
          <p:grpSpPr>
            <a:xfrm>
              <a:off x="5031363" y="2905396"/>
              <a:ext cx="347088" cy="388143"/>
              <a:chOff x="1175042" y="1972326"/>
              <a:chExt cx="147106" cy="164506"/>
            </a:xfrm>
          </p:grpSpPr>
          <p:sp>
            <p:nvSpPr>
              <p:cNvPr id="38" name="Freeform 5">
                <a:extLst>
                  <a:ext uri="{FF2B5EF4-FFF2-40B4-BE49-F238E27FC236}">
                    <a16:creationId xmlns:a16="http://schemas.microsoft.com/office/drawing/2014/main" id="{FB209EC2-8CE1-C073-3713-57409A9E749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39" name="Oval 38">
                <a:extLst>
                  <a:ext uri="{FF2B5EF4-FFF2-40B4-BE49-F238E27FC236}">
                    <a16:creationId xmlns:a16="http://schemas.microsoft.com/office/drawing/2014/main" id="{2CDADA7D-472D-2C24-4134-B0B82ECFA07B}"/>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sp>
          <p:nvSpPr>
            <p:cNvPr id="37" name="Freeform 28">
              <a:extLst>
                <a:ext uri="{FF2B5EF4-FFF2-40B4-BE49-F238E27FC236}">
                  <a16:creationId xmlns:a16="http://schemas.microsoft.com/office/drawing/2014/main" id="{C3B1CC26-50A0-18FE-7FBA-36A48E6BAD18}"/>
                </a:ext>
                <a:ext uri="{C183D7F6-B498-43B3-948B-1728B52AA6E4}">
                  <adec:decorative xmlns:adec="http://schemas.microsoft.com/office/drawing/2017/decorative" val="1"/>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4CB1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2" name="Group 31">
            <a:extLst>
              <a:ext uri="{FF2B5EF4-FFF2-40B4-BE49-F238E27FC236}">
                <a16:creationId xmlns:a16="http://schemas.microsoft.com/office/drawing/2014/main" id="{974C3285-84B8-518A-FF90-1C66B7E64CD5}"/>
              </a:ext>
              <a:ext uri="{C183D7F6-B498-43B3-948B-1728B52AA6E4}">
                <adec:decorative xmlns:adec="http://schemas.microsoft.com/office/drawing/2017/decorative" val="1"/>
              </a:ext>
            </a:extLst>
          </p:cNvPr>
          <p:cNvGrpSpPr/>
          <p:nvPr/>
        </p:nvGrpSpPr>
        <p:grpSpPr>
          <a:xfrm>
            <a:off x="10692740" y="1680975"/>
            <a:ext cx="316812" cy="282822"/>
            <a:chOff x="4764983" y="2720537"/>
            <a:chExt cx="324620" cy="292851"/>
          </a:xfrm>
        </p:grpSpPr>
        <p:sp>
          <p:nvSpPr>
            <p:cNvPr id="33" name="Rectangle: Rounded Corners 32">
              <a:extLst>
                <a:ext uri="{FF2B5EF4-FFF2-40B4-BE49-F238E27FC236}">
                  <a16:creationId xmlns:a16="http://schemas.microsoft.com/office/drawing/2014/main" id="{F2C6C441-17C5-8E95-0E61-E6B08B1086D2}"/>
                </a:ext>
                <a:ext uri="{C183D7F6-B498-43B3-948B-1728B52AA6E4}">
                  <adec:decorative xmlns:adec="http://schemas.microsoft.com/office/drawing/2017/decorative" val="1"/>
                </a:ext>
              </a:extLst>
            </p:cNvPr>
            <p:cNvSpPr/>
            <p:nvPr/>
          </p:nvSpPr>
          <p:spPr bwMode="auto">
            <a:xfrm>
              <a:off x="4764983" y="2720537"/>
              <a:ext cx="324620" cy="238440"/>
            </a:xfrm>
            <a:prstGeom prst="roundRect">
              <a:avLst>
                <a:gd name="adj" fmla="val 23959"/>
              </a:avLst>
            </a:pr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sp>
          <p:nvSpPr>
            <p:cNvPr id="34" name="Rectangle 128">
              <a:extLst>
                <a:ext uri="{FF2B5EF4-FFF2-40B4-BE49-F238E27FC236}">
                  <a16:creationId xmlns:a16="http://schemas.microsoft.com/office/drawing/2014/main" id="{8B9D9DC6-8F7D-8859-189D-A9275D4C9C48}"/>
                </a:ext>
                <a:ext uri="{C183D7F6-B498-43B3-948B-1728B52AA6E4}">
                  <adec:decorative xmlns:adec="http://schemas.microsoft.com/office/drawing/2017/decorative" val="1"/>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grpSp>
      <p:sp>
        <p:nvSpPr>
          <p:cNvPr id="29" name="TextBox 28">
            <a:extLst>
              <a:ext uri="{FF2B5EF4-FFF2-40B4-BE49-F238E27FC236}">
                <a16:creationId xmlns:a16="http://schemas.microsoft.com/office/drawing/2014/main" id="{02395585-8B55-B4A8-C198-639C7713C3BB}"/>
              </a:ext>
              <a:ext uri="{C183D7F6-B498-43B3-948B-1728B52AA6E4}">
                <adec:decorative xmlns:adec="http://schemas.microsoft.com/office/drawing/2017/decorative" val="1"/>
              </a:ext>
            </a:extLst>
          </p:cNvPr>
          <p:cNvSpPr txBox="1"/>
          <p:nvPr/>
        </p:nvSpPr>
        <p:spPr>
          <a:xfrm>
            <a:off x="10572900" y="2378624"/>
            <a:ext cx="808235"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pplication</a:t>
            </a:r>
          </a:p>
        </p:txBody>
      </p:sp>
      <p:sp>
        <p:nvSpPr>
          <p:cNvPr id="30" name="TextBox 29">
            <a:extLst>
              <a:ext uri="{FF2B5EF4-FFF2-40B4-BE49-F238E27FC236}">
                <a16:creationId xmlns:a16="http://schemas.microsoft.com/office/drawing/2014/main" id="{4A5CB12F-6AA8-6B24-943C-2C8337ECF12D}"/>
              </a:ext>
            </a:extLst>
          </p:cNvPr>
          <p:cNvSpPr txBox="1"/>
          <p:nvPr/>
        </p:nvSpPr>
        <p:spPr>
          <a:xfrm>
            <a:off x="10647001" y="1546279"/>
            <a:ext cx="316812" cy="507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Sans Text"/>
                <a:ea typeface="+mn-ea"/>
                <a:cs typeface="+mn-cs"/>
              </a:rPr>
              <a:t>?</a:t>
            </a:r>
          </a:p>
        </p:txBody>
      </p:sp>
      <p:sp>
        <p:nvSpPr>
          <p:cNvPr id="45" name="TextBox 44">
            <a:extLst>
              <a:ext uri="{FF2B5EF4-FFF2-40B4-BE49-F238E27FC236}">
                <a16:creationId xmlns:a16="http://schemas.microsoft.com/office/drawing/2014/main" id="{A7F46650-6F4C-4F83-C339-DBB9A0885F43}"/>
              </a:ext>
              <a:ext uri="{C183D7F6-B498-43B3-948B-1728B52AA6E4}">
                <adec:decorative xmlns:adec="http://schemas.microsoft.com/office/drawing/2017/decorative" val="1"/>
              </a:ext>
            </a:extLst>
          </p:cNvPr>
          <p:cNvSpPr txBox="1"/>
          <p:nvPr/>
        </p:nvSpPr>
        <p:spPr>
          <a:xfrm>
            <a:off x="6700917" y="2840693"/>
            <a:ext cx="1276311"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N-relevant sections</a:t>
            </a:r>
          </a:p>
        </p:txBody>
      </p:sp>
      <p:pic>
        <p:nvPicPr>
          <p:cNvPr id="46" name="Picture 45">
            <a:extLst>
              <a:ext uri="{FF2B5EF4-FFF2-40B4-BE49-F238E27FC236}">
                <a16:creationId xmlns:a16="http://schemas.microsoft.com/office/drawing/2014/main" id="{D12F8D04-29BC-034D-8F60-CCA26AD179F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927723" y="3289386"/>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7" name="Picture 46">
            <a:extLst>
              <a:ext uri="{FF2B5EF4-FFF2-40B4-BE49-F238E27FC236}">
                <a16:creationId xmlns:a16="http://schemas.microsoft.com/office/drawing/2014/main" id="{CF586A42-4E40-F75F-D44B-18E8F66BB1A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253154" y="3292178"/>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8" name="Picture 47">
            <a:extLst>
              <a:ext uri="{FF2B5EF4-FFF2-40B4-BE49-F238E27FC236}">
                <a16:creationId xmlns:a16="http://schemas.microsoft.com/office/drawing/2014/main" id="{E28BDCC0-AB1B-220B-70AE-52B407B259C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590451" y="3297381"/>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50" name="TextBox 49">
            <a:extLst>
              <a:ext uri="{FF2B5EF4-FFF2-40B4-BE49-F238E27FC236}">
                <a16:creationId xmlns:a16="http://schemas.microsoft.com/office/drawing/2014/main" id="{4FD58802-012F-AC89-C5E2-67A54E8504D6}"/>
              </a:ext>
              <a:ext uri="{C183D7F6-B498-43B3-948B-1728B52AA6E4}">
                <adec:decorative xmlns:adec="http://schemas.microsoft.com/office/drawing/2017/decorative" val="1"/>
              </a:ext>
            </a:extLst>
          </p:cNvPr>
          <p:cNvSpPr txBox="1"/>
          <p:nvPr/>
        </p:nvSpPr>
        <p:spPr>
          <a:xfrm>
            <a:off x="7909561" y="3509175"/>
            <a:ext cx="784189"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Prompting</a:t>
            </a:r>
          </a:p>
        </p:txBody>
      </p:sp>
      <p:sp>
        <p:nvSpPr>
          <p:cNvPr id="54" name="Rectangle 53">
            <a:extLst>
              <a:ext uri="{FF2B5EF4-FFF2-40B4-BE49-F238E27FC236}">
                <a16:creationId xmlns:a16="http://schemas.microsoft.com/office/drawing/2014/main" id="{742B13A1-5F07-8B7A-2020-68847B1726AA}"/>
              </a:ext>
            </a:extLst>
          </p:cNvPr>
          <p:cNvSpPr/>
          <p:nvPr/>
        </p:nvSpPr>
        <p:spPr bwMode="auto">
          <a:xfrm>
            <a:off x="5738519" y="2633386"/>
            <a:ext cx="662361" cy="5539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dex</a:t>
            </a:r>
          </a:p>
        </p:txBody>
      </p:sp>
      <p:sp>
        <p:nvSpPr>
          <p:cNvPr id="61" name="TextBox 60">
            <a:extLst>
              <a:ext uri="{FF2B5EF4-FFF2-40B4-BE49-F238E27FC236}">
                <a16:creationId xmlns:a16="http://schemas.microsoft.com/office/drawing/2014/main" id="{4CD72AC8-F47A-207C-A215-52508F49809B}"/>
              </a:ext>
              <a:ext uri="{C183D7F6-B498-43B3-948B-1728B52AA6E4}">
                <adec:decorative xmlns:adec="http://schemas.microsoft.com/office/drawing/2017/decorative" val="1"/>
              </a:ext>
            </a:extLst>
          </p:cNvPr>
          <p:cNvSpPr txBox="1"/>
          <p:nvPr/>
        </p:nvSpPr>
        <p:spPr>
          <a:xfrm>
            <a:off x="6416941" y="1652870"/>
            <a:ext cx="1853700" cy="734458"/>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 query/questions</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cluding filters, facets,</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coring profiles, etc.)</a:t>
            </a:r>
          </a:p>
        </p:txBody>
      </p:sp>
      <p:cxnSp>
        <p:nvCxnSpPr>
          <p:cNvPr id="65" name="Straight Arrow Connector 64">
            <a:extLst>
              <a:ext uri="{FF2B5EF4-FFF2-40B4-BE49-F238E27FC236}">
                <a16:creationId xmlns:a16="http://schemas.microsoft.com/office/drawing/2014/main" id="{316AF38C-0CB6-8BB3-2EF2-9F6F7CCC9DA7}"/>
              </a:ext>
              <a:ext uri="{C183D7F6-B498-43B3-948B-1728B52AA6E4}">
                <adec:decorative xmlns:adec="http://schemas.microsoft.com/office/drawing/2017/decorative" val="1"/>
              </a:ext>
            </a:extLst>
          </p:cNvPr>
          <p:cNvCxnSpPr>
            <a:cxnSpLocks/>
          </p:cNvCxnSpPr>
          <p:nvPr/>
        </p:nvCxnSpPr>
        <p:spPr>
          <a:xfrm>
            <a:off x="6389193" y="2674039"/>
            <a:ext cx="2003773"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405941C-F291-AFD4-FDF8-6303F2F02A41}"/>
              </a:ext>
              <a:ext uri="{C183D7F6-B498-43B3-948B-1728B52AA6E4}">
                <adec:decorative xmlns:adec="http://schemas.microsoft.com/office/drawing/2017/decorative" val="1"/>
              </a:ext>
            </a:extLst>
          </p:cNvPr>
          <p:cNvSpPr txBox="1"/>
          <p:nvPr/>
        </p:nvSpPr>
        <p:spPr>
          <a:xfrm>
            <a:off x="1810326" y="2742181"/>
            <a:ext cx="1383712"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Chunking </a:t>
            </a:r>
          </a:p>
        </p:txBody>
      </p:sp>
      <p:pic>
        <p:nvPicPr>
          <p:cNvPr id="72" name="Picture 71">
            <a:extLst>
              <a:ext uri="{FF2B5EF4-FFF2-40B4-BE49-F238E27FC236}">
                <a16:creationId xmlns:a16="http://schemas.microsoft.com/office/drawing/2014/main" id="{74500CB8-ABAE-2A8E-43B2-FECFC8A62A1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876694" y="3800994"/>
            <a:ext cx="1091075" cy="63534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73" name="TextBox 72">
            <a:extLst>
              <a:ext uri="{FF2B5EF4-FFF2-40B4-BE49-F238E27FC236}">
                <a16:creationId xmlns:a16="http://schemas.microsoft.com/office/drawing/2014/main" id="{BCD79C30-9630-3A5F-546D-A8D7AF3347AC}"/>
              </a:ext>
              <a:ext uri="{C183D7F6-B498-43B3-948B-1728B52AA6E4}">
                <adec:decorative xmlns:adec="http://schemas.microsoft.com/office/drawing/2017/decorative" val="1"/>
              </a:ext>
            </a:extLst>
          </p:cNvPr>
          <p:cNvSpPr txBox="1"/>
          <p:nvPr/>
        </p:nvSpPr>
        <p:spPr>
          <a:xfrm>
            <a:off x="1546793" y="4404224"/>
            <a:ext cx="1972014"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 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ayout model</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77" name="TextBox 76">
            <a:extLst>
              <a:ext uri="{FF2B5EF4-FFF2-40B4-BE49-F238E27FC236}">
                <a16:creationId xmlns:a16="http://schemas.microsoft.com/office/drawing/2014/main" id="{447BE8FB-D679-D485-0AA6-80F5A5CB7FF5}"/>
              </a:ext>
              <a:ext uri="{C183D7F6-B498-43B3-948B-1728B52AA6E4}">
                <adec:decorative xmlns:adec="http://schemas.microsoft.com/office/drawing/2017/decorative" val="1"/>
              </a:ext>
            </a:extLst>
          </p:cNvPr>
          <p:cNvSpPr txBox="1"/>
          <p:nvPr/>
        </p:nvSpPr>
        <p:spPr>
          <a:xfrm>
            <a:off x="764654" y="4194713"/>
            <a:ext cx="809837"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a:t>
            </a:r>
            <a:b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ibrary</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78" name="Picture 77">
            <a:extLst>
              <a:ext uri="{FF2B5EF4-FFF2-40B4-BE49-F238E27FC236}">
                <a16:creationId xmlns:a16="http://schemas.microsoft.com/office/drawing/2014/main" id="{03DB789C-0690-4866-E6D9-CE77745CDCF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7719" y="3597070"/>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76" name="Straight Arrow Connector 75">
            <a:extLst>
              <a:ext uri="{FF2B5EF4-FFF2-40B4-BE49-F238E27FC236}">
                <a16:creationId xmlns:a16="http://schemas.microsoft.com/office/drawing/2014/main" id="{CD74BB0D-085E-FD6B-98C4-A025C288763B}"/>
              </a:ext>
              <a:ext uri="{C183D7F6-B498-43B3-948B-1728B52AA6E4}">
                <adec:decorative xmlns:adec="http://schemas.microsoft.com/office/drawing/2017/decorative" val="1"/>
              </a:ext>
            </a:extLst>
          </p:cNvPr>
          <p:cNvCxnSpPr>
            <a:cxnSpLocks/>
          </p:cNvCxnSpPr>
          <p:nvPr/>
        </p:nvCxnSpPr>
        <p:spPr>
          <a:xfrm flipV="1">
            <a:off x="1085355" y="3084277"/>
            <a:ext cx="679656" cy="36869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B15BAE1-B63A-33A9-E683-AD1B6443A405}"/>
              </a:ext>
            </a:extLst>
          </p:cNvPr>
          <p:cNvSpPr txBox="1"/>
          <p:nvPr/>
        </p:nvSpPr>
        <p:spPr>
          <a:xfrm>
            <a:off x="8184088" y="4510194"/>
            <a:ext cx="140775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OpenAI Service</a:t>
            </a:r>
          </a:p>
        </p:txBody>
      </p:sp>
      <p:sp>
        <p:nvSpPr>
          <p:cNvPr id="81" name="Rectangle: Rounded Corners 5">
            <a:extLst>
              <a:ext uri="{FF2B5EF4-FFF2-40B4-BE49-F238E27FC236}">
                <a16:creationId xmlns:a16="http://schemas.microsoft.com/office/drawing/2014/main" id="{F3375F32-D789-84B9-B3D9-E6DDABE4489F}"/>
              </a:ext>
            </a:extLst>
          </p:cNvPr>
          <p:cNvSpPr>
            <a:spLocks/>
          </p:cNvSpPr>
          <p:nvPr/>
        </p:nvSpPr>
        <p:spPr bwMode="auto">
          <a:xfrm>
            <a:off x="758201" y="2658722"/>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sp>
        <p:nvSpPr>
          <p:cNvPr id="95" name="Rectangle: Rounded Corners 5">
            <a:extLst>
              <a:ext uri="{FF2B5EF4-FFF2-40B4-BE49-F238E27FC236}">
                <a16:creationId xmlns:a16="http://schemas.microsoft.com/office/drawing/2014/main" id="{DE1953AB-A290-D792-5FE1-731DF1EBC0F5}"/>
              </a:ext>
            </a:extLst>
          </p:cNvPr>
          <p:cNvSpPr>
            <a:spLocks/>
          </p:cNvSpPr>
          <p:nvPr/>
        </p:nvSpPr>
        <p:spPr bwMode="auto">
          <a:xfrm>
            <a:off x="10851145" y="2877927"/>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sp>
        <p:nvSpPr>
          <p:cNvPr id="110" name="Left Brace 109">
            <a:extLst>
              <a:ext uri="{FF2B5EF4-FFF2-40B4-BE49-F238E27FC236}">
                <a16:creationId xmlns:a16="http://schemas.microsoft.com/office/drawing/2014/main" id="{042CEFD3-C16C-8BF3-764B-69E1E1F9D274}"/>
              </a:ext>
              <a:ext uri="{C183D7F6-B498-43B3-948B-1728B52AA6E4}">
                <adec:decorative xmlns:adec="http://schemas.microsoft.com/office/drawing/2017/decorative" val="1"/>
              </a:ext>
            </a:extLst>
          </p:cNvPr>
          <p:cNvSpPr/>
          <p:nvPr/>
        </p:nvSpPr>
        <p:spPr>
          <a:xfrm rot="10800000">
            <a:off x="5008719" y="1825854"/>
            <a:ext cx="270299" cy="1696371"/>
          </a:xfrm>
          <a:prstGeom prst="leftBrace">
            <a:avLst>
              <a:gd name="adj1" fmla="val 83749"/>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sp>
        <p:nvSpPr>
          <p:cNvPr id="114" name="TextBox 113">
            <a:extLst>
              <a:ext uri="{FF2B5EF4-FFF2-40B4-BE49-F238E27FC236}">
                <a16:creationId xmlns:a16="http://schemas.microsoft.com/office/drawing/2014/main" id="{D5FD5CDB-B606-E07C-01B6-2CD34D4A1A8F}"/>
              </a:ext>
              <a:ext uri="{C183D7F6-B498-43B3-948B-1728B52AA6E4}">
                <adec:decorative xmlns:adec="http://schemas.microsoft.com/office/drawing/2017/decorative" val="1"/>
              </a:ext>
            </a:extLst>
          </p:cNvPr>
          <p:cNvSpPr txBox="1"/>
          <p:nvPr/>
        </p:nvSpPr>
        <p:spPr>
          <a:xfrm>
            <a:off x="660163" y="2054014"/>
            <a:ext cx="102143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xpert systems</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115" name="Picture 114">
            <a:extLst>
              <a:ext uri="{FF2B5EF4-FFF2-40B4-BE49-F238E27FC236}">
                <a16:creationId xmlns:a16="http://schemas.microsoft.com/office/drawing/2014/main" id="{5C2448BB-CAAD-72B5-77A6-C946E49EC47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9026" y="1441918"/>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13" name="Straight Arrow Connector 112">
            <a:extLst>
              <a:ext uri="{FF2B5EF4-FFF2-40B4-BE49-F238E27FC236}">
                <a16:creationId xmlns:a16="http://schemas.microsoft.com/office/drawing/2014/main" id="{B6B7DBB8-6867-16D3-F26E-C2DD3F9927CE}"/>
              </a:ext>
              <a:ext uri="{C183D7F6-B498-43B3-948B-1728B52AA6E4}">
                <adec:decorative xmlns:adec="http://schemas.microsoft.com/office/drawing/2017/decorative" val="1"/>
              </a:ext>
            </a:extLst>
          </p:cNvPr>
          <p:cNvCxnSpPr>
            <a:cxnSpLocks/>
          </p:cNvCxnSpPr>
          <p:nvPr/>
        </p:nvCxnSpPr>
        <p:spPr>
          <a:xfrm>
            <a:off x="1179350" y="2309478"/>
            <a:ext cx="568462" cy="38875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132ED584-69C6-44A8-6BFB-593AF995F1F7}"/>
              </a:ext>
              <a:ext uri="{C183D7F6-B498-43B3-948B-1728B52AA6E4}">
                <adec:decorative xmlns:adec="http://schemas.microsoft.com/office/drawing/2017/decorative" val="1"/>
              </a:ext>
            </a:extLst>
          </p:cNvPr>
          <p:cNvCxnSpPr>
            <a:cxnSpLocks/>
          </p:cNvCxnSpPr>
          <p:nvPr/>
        </p:nvCxnSpPr>
        <p:spPr>
          <a:xfrm rot="10800000" flipH="1">
            <a:off x="4609164" y="2045517"/>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943B5C2-3DEB-EFCE-BEB8-1E3A3DC3FB54}"/>
              </a:ext>
              <a:ext uri="{C183D7F6-B498-43B3-948B-1728B52AA6E4}">
                <adec:decorative xmlns:adec="http://schemas.microsoft.com/office/drawing/2017/decorative" val="1"/>
              </a:ext>
            </a:extLst>
          </p:cNvPr>
          <p:cNvCxnSpPr>
            <a:cxnSpLocks/>
          </p:cNvCxnSpPr>
          <p:nvPr/>
        </p:nvCxnSpPr>
        <p:spPr>
          <a:xfrm rot="10800000" flipH="1">
            <a:off x="4609164" y="288446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EF37BBB0-6406-31BB-4ACC-B4D8740888EF}"/>
              </a:ext>
              <a:ext uri="{C183D7F6-B498-43B3-948B-1728B52AA6E4}">
                <adec:decorative xmlns:adec="http://schemas.microsoft.com/office/drawing/2017/decorative" val="1"/>
              </a:ext>
            </a:extLst>
          </p:cNvPr>
          <p:cNvCxnSpPr>
            <a:cxnSpLocks/>
          </p:cNvCxnSpPr>
          <p:nvPr/>
        </p:nvCxnSpPr>
        <p:spPr>
          <a:xfrm rot="10800000" flipH="1">
            <a:off x="4609164" y="330393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46DCF5A-BC0F-62D5-210F-FEAFC20EA41F}"/>
              </a:ext>
              <a:ext uri="{C183D7F6-B498-43B3-948B-1728B52AA6E4}">
                <adec:decorative xmlns:adec="http://schemas.microsoft.com/office/drawing/2017/decorative" val="1"/>
              </a:ext>
            </a:extLst>
          </p:cNvPr>
          <p:cNvCxnSpPr>
            <a:cxnSpLocks/>
          </p:cNvCxnSpPr>
          <p:nvPr/>
        </p:nvCxnSpPr>
        <p:spPr>
          <a:xfrm>
            <a:off x="5279018" y="2673193"/>
            <a:ext cx="392359" cy="1693"/>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C5A346E-785F-397E-BACF-B4DE38F78FEC}"/>
              </a:ext>
              <a:ext uri="{C183D7F6-B498-43B3-948B-1728B52AA6E4}">
                <adec:decorative xmlns:adec="http://schemas.microsoft.com/office/drawing/2017/decorative" val="1"/>
              </a:ext>
            </a:extLst>
          </p:cNvPr>
          <p:cNvSpPr txBox="1"/>
          <p:nvPr/>
        </p:nvSpPr>
        <p:spPr>
          <a:xfrm>
            <a:off x="8310064" y="3041696"/>
            <a:ext cx="95410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Orchestration</a:t>
            </a:r>
          </a:p>
        </p:txBody>
      </p:sp>
      <p:sp>
        <p:nvSpPr>
          <p:cNvPr id="27" name="Rectangle: Rounded Corners 5">
            <a:extLst>
              <a:ext uri="{FF2B5EF4-FFF2-40B4-BE49-F238E27FC236}">
                <a16:creationId xmlns:a16="http://schemas.microsoft.com/office/drawing/2014/main" id="{B8C2EE7A-89EA-1E00-D78D-D40063A602DB}"/>
              </a:ext>
            </a:extLst>
          </p:cNvPr>
          <p:cNvSpPr>
            <a:spLocks/>
          </p:cNvSpPr>
          <p:nvPr/>
        </p:nvSpPr>
        <p:spPr bwMode="auto">
          <a:xfrm>
            <a:off x="8361804" y="1492793"/>
            <a:ext cx="889187"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mp;7</a:t>
            </a:r>
          </a:p>
        </p:txBody>
      </p:sp>
      <p:cxnSp>
        <p:nvCxnSpPr>
          <p:cNvPr id="44" name="Straight Arrow Connector 43">
            <a:extLst>
              <a:ext uri="{FF2B5EF4-FFF2-40B4-BE49-F238E27FC236}">
                <a16:creationId xmlns:a16="http://schemas.microsoft.com/office/drawing/2014/main" id="{5F15ED3E-458A-C97C-23A2-16A9D86E6832}"/>
              </a:ext>
              <a:ext uri="{C183D7F6-B498-43B3-948B-1728B52AA6E4}">
                <adec:decorative xmlns:adec="http://schemas.microsoft.com/office/drawing/2017/decorative" val="1"/>
              </a:ext>
            </a:extLst>
          </p:cNvPr>
          <p:cNvCxnSpPr>
            <a:cxnSpLocks/>
          </p:cNvCxnSpPr>
          <p:nvPr/>
        </p:nvCxnSpPr>
        <p:spPr>
          <a:xfrm flipV="1">
            <a:off x="9005924"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87DAC0F-ED25-3CA8-90F9-87C5B3966C62}"/>
              </a:ext>
              <a:ext uri="{C183D7F6-B498-43B3-948B-1728B52AA6E4}">
                <adec:decorative xmlns:adec="http://schemas.microsoft.com/office/drawing/2017/decorative" val="1"/>
              </a:ext>
            </a:extLst>
          </p:cNvPr>
          <p:cNvCxnSpPr>
            <a:cxnSpLocks/>
          </p:cNvCxnSpPr>
          <p:nvPr/>
        </p:nvCxnSpPr>
        <p:spPr>
          <a:xfrm>
            <a:off x="8705143"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1CC2A357-CDEB-9FBC-FCFA-45A842AD8E14}"/>
              </a:ext>
              <a:ext uri="{C183D7F6-B498-43B3-948B-1728B52AA6E4}">
                <adec:decorative xmlns:adec="http://schemas.microsoft.com/office/drawing/2017/decorative" val="1"/>
              </a:ext>
            </a:extLst>
          </p:cNvPr>
          <p:cNvCxnSpPr>
            <a:cxnSpLocks/>
          </p:cNvCxnSpPr>
          <p:nvPr/>
        </p:nvCxnSpPr>
        <p:spPr>
          <a:xfrm>
            <a:off x="9237414" y="2701948"/>
            <a:ext cx="1179254"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6389BD1D-D174-862D-34C2-5D84F523100E}"/>
              </a:ext>
              <a:ext uri="{C183D7F6-B498-43B3-948B-1728B52AA6E4}">
                <adec:decorative xmlns:adec="http://schemas.microsoft.com/office/drawing/2017/decorative" val="1"/>
              </a:ext>
            </a:extLst>
          </p:cNvPr>
          <p:cNvSpPr txBox="1"/>
          <p:nvPr/>
        </p:nvSpPr>
        <p:spPr>
          <a:xfrm>
            <a:off x="9476622" y="1943930"/>
            <a:ext cx="81785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Query</a:t>
            </a:r>
          </a:p>
        </p:txBody>
      </p:sp>
      <p:cxnSp>
        <p:nvCxnSpPr>
          <p:cNvPr id="88" name="Straight Arrow Connector 87">
            <a:extLst>
              <a:ext uri="{FF2B5EF4-FFF2-40B4-BE49-F238E27FC236}">
                <a16:creationId xmlns:a16="http://schemas.microsoft.com/office/drawing/2014/main" id="{D4C98763-2715-9B81-FF2B-3214D868C8CB}"/>
              </a:ext>
              <a:ext uri="{C183D7F6-B498-43B3-948B-1728B52AA6E4}">
                <adec:decorative xmlns:adec="http://schemas.microsoft.com/office/drawing/2017/decorative" val="1"/>
              </a:ext>
            </a:extLst>
          </p:cNvPr>
          <p:cNvCxnSpPr>
            <a:cxnSpLocks/>
          </p:cNvCxnSpPr>
          <p:nvPr/>
        </p:nvCxnSpPr>
        <p:spPr>
          <a:xfrm flipH="1" flipV="1">
            <a:off x="6393191" y="2434892"/>
            <a:ext cx="1999774" cy="3942"/>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11260EA2-BF88-21E5-D6A4-712F8A33CC3D}"/>
              </a:ext>
              <a:ext uri="{C183D7F6-B498-43B3-948B-1728B52AA6E4}">
                <adec:decorative xmlns:adec="http://schemas.microsoft.com/office/drawing/2017/decorative" val="1"/>
              </a:ext>
            </a:extLst>
          </p:cNvPr>
          <p:cNvCxnSpPr>
            <a:cxnSpLocks/>
          </p:cNvCxnSpPr>
          <p:nvPr/>
        </p:nvCxnSpPr>
        <p:spPr>
          <a:xfrm flipH="1" flipV="1">
            <a:off x="9239607" y="2383215"/>
            <a:ext cx="1177060"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EB7213A-12FD-08EA-34E0-89ED2E121165}"/>
              </a:ext>
              <a:ext uri="{C183D7F6-B498-43B3-948B-1728B52AA6E4}">
                <adec:decorative xmlns:adec="http://schemas.microsoft.com/office/drawing/2017/decorative" val="1"/>
              </a:ext>
            </a:extLst>
          </p:cNvPr>
          <p:cNvSpPr txBox="1"/>
          <p:nvPr/>
        </p:nvSpPr>
        <p:spPr>
          <a:xfrm>
            <a:off x="9399373" y="2815130"/>
            <a:ext cx="1080745" cy="707886"/>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spon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ummariz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ferences, </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tc.</a:t>
            </a:r>
          </a:p>
        </p:txBody>
      </p:sp>
      <p:pic>
        <p:nvPicPr>
          <p:cNvPr id="125" name="Graphic 19">
            <a:extLst>
              <a:ext uri="{FF2B5EF4-FFF2-40B4-BE49-F238E27FC236}">
                <a16:creationId xmlns:a16="http://schemas.microsoft.com/office/drawing/2014/main" id="{8862C07B-B299-7959-34AE-8E0746CF8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8021" y="3900022"/>
            <a:ext cx="666214" cy="644248"/>
          </a:xfrm>
          <a:prstGeom prst="rect">
            <a:avLst/>
          </a:prstGeom>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27" name="Straight Arrow Connector 126">
            <a:extLst>
              <a:ext uri="{FF2B5EF4-FFF2-40B4-BE49-F238E27FC236}">
                <a16:creationId xmlns:a16="http://schemas.microsoft.com/office/drawing/2014/main" id="{2DCE3743-DAF6-785B-B9DB-141495129A6E}"/>
              </a:ext>
            </a:extLst>
          </p:cNvPr>
          <p:cNvCxnSpPr>
            <a:cxnSpLocks/>
          </p:cNvCxnSpPr>
          <p:nvPr/>
        </p:nvCxnSpPr>
        <p:spPr>
          <a:xfrm flipH="1" flipV="1">
            <a:off x="2502182" y="3073846"/>
            <a:ext cx="0" cy="700224"/>
          </a:xfrm>
          <a:prstGeom prst="straightConnector1">
            <a:avLst/>
          </a:prstGeom>
          <a:ln w="19050" cap="rnd">
            <a:solidFill>
              <a:schemeClr val="accent1"/>
            </a:solidFill>
            <a:prstDash val="sysDot"/>
            <a:headEnd type="arrow"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29" name="Rectangle: Rounded Corners 5">
            <a:extLst>
              <a:ext uri="{FF2B5EF4-FFF2-40B4-BE49-F238E27FC236}">
                <a16:creationId xmlns:a16="http://schemas.microsoft.com/office/drawing/2014/main" id="{E683810E-1012-4D69-1E6A-7F0B0605D56A}"/>
              </a:ext>
              <a:ext uri="{C183D7F6-B498-43B3-948B-1728B52AA6E4}">
                <adec:decorative xmlns:adec="http://schemas.microsoft.com/office/drawing/2017/decorative" val="0"/>
              </a:ext>
            </a:extLst>
          </p:cNvPr>
          <p:cNvSpPr>
            <a:spLocks/>
          </p:cNvSpPr>
          <p:nvPr/>
        </p:nvSpPr>
        <p:spPr bwMode="auto">
          <a:xfrm>
            <a:off x="2275324" y="1712245"/>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sp>
        <p:nvSpPr>
          <p:cNvPr id="130" name="Rectangle: Rounded Corners 5">
            <a:extLst>
              <a:ext uri="{FF2B5EF4-FFF2-40B4-BE49-F238E27FC236}">
                <a16:creationId xmlns:a16="http://schemas.microsoft.com/office/drawing/2014/main" id="{5A541C40-38DC-B8C9-34C0-A746C42D0629}"/>
              </a:ext>
              <a:ext uri="{C183D7F6-B498-43B3-948B-1728B52AA6E4}">
                <adec:decorative xmlns:adec="http://schemas.microsoft.com/office/drawing/2017/decorative" val="0"/>
              </a:ext>
            </a:extLst>
          </p:cNvPr>
          <p:cNvSpPr>
            <a:spLocks/>
          </p:cNvSpPr>
          <p:nvPr/>
        </p:nvSpPr>
        <p:spPr bwMode="auto">
          <a:xfrm>
            <a:off x="5805765" y="1531371"/>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sp>
        <p:nvSpPr>
          <p:cNvPr id="132" name="Rectangle: Rounded Corners 5">
            <a:extLst>
              <a:ext uri="{FF2B5EF4-FFF2-40B4-BE49-F238E27FC236}">
                <a16:creationId xmlns:a16="http://schemas.microsoft.com/office/drawing/2014/main" id="{7D54225B-9B0B-3561-7EBA-606F5C780700}"/>
              </a:ext>
              <a:ext uri="{C183D7F6-B498-43B3-948B-1728B52AA6E4}">
                <adec:decorative xmlns:adec="http://schemas.microsoft.com/office/drawing/2017/decorative" val="0"/>
              </a:ext>
            </a:extLst>
          </p:cNvPr>
          <p:cNvSpPr>
            <a:spLocks/>
          </p:cNvSpPr>
          <p:nvPr/>
        </p:nvSpPr>
        <p:spPr bwMode="auto">
          <a:xfrm>
            <a:off x="4010148" y="3656246"/>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Anatomy</a:t>
            </a:r>
            <a:r>
              <a:rPr lang="en-US"/>
              <a:t> </a:t>
            </a:r>
            <a:r>
              <a:rPr lang="en-US">
                <a:solidFill>
                  <a:schemeClr val="bg1"/>
                </a:solidFill>
              </a:rPr>
              <a:t>of RAG</a:t>
            </a:r>
          </a:p>
        </p:txBody>
      </p:sp>
      <p:sp>
        <p:nvSpPr>
          <p:cNvPr id="67" name="Rounded Rectangle 4">
            <a:extLst>
              <a:ext uri="{FF2B5EF4-FFF2-40B4-BE49-F238E27FC236}">
                <a16:creationId xmlns:a16="http://schemas.microsoft.com/office/drawing/2014/main" id="{56E8D405-944A-C6AA-719A-DA33DA06BC70}"/>
              </a:ext>
            </a:extLst>
          </p:cNvPr>
          <p:cNvSpPr/>
          <p:nvPr/>
        </p:nvSpPr>
        <p:spPr bwMode="auto">
          <a:xfrm>
            <a:off x="694155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and prompting—Prompt to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get retriever query </a:t>
            </a:r>
          </a:p>
        </p:txBody>
      </p:sp>
      <p:sp>
        <p:nvSpPr>
          <p:cNvPr id="52" name="Rounded Rectangle 4">
            <a:extLst>
              <a:ext uri="{FF2B5EF4-FFF2-40B4-BE49-F238E27FC236}">
                <a16:creationId xmlns:a16="http://schemas.microsoft.com/office/drawing/2014/main" id="{34201E34-26BB-5473-C6F2-8759B3EF0286}"/>
              </a:ext>
            </a:extLst>
          </p:cNvPr>
          <p:cNvSpPr/>
          <p:nvPr/>
        </p:nvSpPr>
        <p:spPr bwMode="auto">
          <a:xfrm>
            <a:off x="53831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Different data formats and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ystem of records</a:t>
            </a:r>
          </a:p>
        </p:txBody>
      </p:sp>
      <p:sp>
        <p:nvSpPr>
          <p:cNvPr id="56" name="Rounded Rectangle 4">
            <a:extLst>
              <a:ext uri="{FF2B5EF4-FFF2-40B4-BE49-F238E27FC236}">
                <a16:creationId xmlns:a16="http://schemas.microsoft.com/office/drawing/2014/main" id="{204C7964-A8F9-25B3-E43A-B843DACC8BF5}"/>
              </a:ext>
            </a:extLst>
          </p:cNvPr>
          <p:cNvSpPr/>
          <p:nvPr/>
        </p:nvSpPr>
        <p:spPr bwMode="auto">
          <a:xfrm>
            <a:off x="373993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embeddings data transformation, mappings?</a:t>
            </a:r>
          </a:p>
        </p:txBody>
      </p:sp>
      <p:sp>
        <p:nvSpPr>
          <p:cNvPr id="57" name="Rounded Rectangle 9">
            <a:extLst>
              <a:ext uri="{FF2B5EF4-FFF2-40B4-BE49-F238E27FC236}">
                <a16:creationId xmlns:a16="http://schemas.microsoft.com/office/drawing/2014/main" id="{964FA540-236F-1BF0-480A-4BF7EB8DC654}"/>
              </a:ext>
            </a:extLst>
          </p:cNvPr>
          <p:cNvSpPr/>
          <p:nvPr/>
        </p:nvSpPr>
        <p:spPr bwMode="auto">
          <a:xfrm>
            <a:off x="2139124" y="5197215"/>
            <a:ext cx="1463040" cy="1177022"/>
          </a:xfrm>
          <a:prstGeom prst="roundRect">
            <a:avLst>
              <a:gd name="adj" fmla="val 431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What is the best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unking strategy?</a:t>
            </a:r>
          </a:p>
        </p:txBody>
      </p:sp>
      <p:sp>
        <p:nvSpPr>
          <p:cNvPr id="58" name="Rounded Rectangle 4">
            <a:extLst>
              <a:ext uri="{FF2B5EF4-FFF2-40B4-BE49-F238E27FC236}">
                <a16:creationId xmlns:a16="http://schemas.microsoft.com/office/drawing/2014/main" id="{0E88F4DA-42F8-B7DD-CCFC-02418B619E30}"/>
              </a:ext>
            </a:extLst>
          </p:cNvPr>
          <p:cNvSpPr/>
          <p:nvPr/>
        </p:nvSpPr>
        <p:spPr bwMode="auto">
          <a:xfrm>
            <a:off x="534074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atbot f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Q&amp;A surfaced to end users</a:t>
            </a:r>
          </a:p>
        </p:txBody>
      </p:sp>
      <p:sp>
        <p:nvSpPr>
          <p:cNvPr id="59" name="Rounded Rectangle 4">
            <a:extLst>
              <a:ext uri="{FF2B5EF4-FFF2-40B4-BE49-F238E27FC236}">
                <a16:creationId xmlns:a16="http://schemas.microsoft.com/office/drawing/2014/main" id="{6A1F4359-0DD7-CB8A-C0C9-3A278D716636}"/>
              </a:ext>
            </a:extLst>
          </p:cNvPr>
          <p:cNvSpPr/>
          <p:nvPr/>
        </p:nvSpPr>
        <p:spPr bwMode="auto">
          <a:xfrm>
            <a:off x="854236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semantic,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keyword 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hybrid approach? </a:t>
            </a:r>
          </a:p>
        </p:txBody>
      </p:sp>
      <p:sp>
        <p:nvSpPr>
          <p:cNvPr id="60" name="Rounded Rectangle 5">
            <a:extLst>
              <a:ext uri="{FF2B5EF4-FFF2-40B4-BE49-F238E27FC236}">
                <a16:creationId xmlns:a16="http://schemas.microsoft.com/office/drawing/2014/main" id="{ED199663-F9E6-25EE-3C91-E70002C6AEDC}"/>
              </a:ext>
            </a:extLst>
          </p:cNvPr>
          <p:cNvSpPr/>
          <p:nvPr/>
        </p:nvSpPr>
        <p:spPr bwMode="auto">
          <a:xfrm>
            <a:off x="53831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1. Data ingestion</a:t>
            </a:r>
          </a:p>
        </p:txBody>
      </p:sp>
      <p:sp>
        <p:nvSpPr>
          <p:cNvPr id="62" name="Rounded Rectangle 5">
            <a:extLst>
              <a:ext uri="{FF2B5EF4-FFF2-40B4-BE49-F238E27FC236}">
                <a16:creationId xmlns:a16="http://schemas.microsoft.com/office/drawing/2014/main" id="{B76A8B38-3B3F-C5DE-6DED-660FC1CD7BAC}"/>
              </a:ext>
            </a:extLst>
          </p:cNvPr>
          <p:cNvSpPr/>
          <p:nvPr/>
        </p:nvSpPr>
        <p:spPr bwMode="auto">
          <a:xfrm>
            <a:off x="213912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2. Chunking</a:t>
            </a:r>
          </a:p>
        </p:txBody>
      </p:sp>
      <p:sp>
        <p:nvSpPr>
          <p:cNvPr id="63" name="Rounded Rectangle 5">
            <a:extLst>
              <a:ext uri="{FF2B5EF4-FFF2-40B4-BE49-F238E27FC236}">
                <a16:creationId xmlns:a16="http://schemas.microsoft.com/office/drawing/2014/main" id="{9D09D863-6759-D86B-0E43-E484A18A000A}"/>
              </a:ext>
            </a:extLst>
          </p:cNvPr>
          <p:cNvSpPr/>
          <p:nvPr/>
        </p:nvSpPr>
        <p:spPr bwMode="auto">
          <a:xfrm>
            <a:off x="373993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3. Indexing</a:t>
            </a:r>
          </a:p>
        </p:txBody>
      </p:sp>
      <p:sp>
        <p:nvSpPr>
          <p:cNvPr id="64" name="Rounded Rectangle 5">
            <a:extLst>
              <a:ext uri="{FF2B5EF4-FFF2-40B4-BE49-F238E27FC236}">
                <a16:creationId xmlns:a16="http://schemas.microsoft.com/office/drawing/2014/main" id="{A47B12C0-C963-0B8C-A1A7-FB5775F47780}"/>
              </a:ext>
            </a:extLst>
          </p:cNvPr>
          <p:cNvSpPr/>
          <p:nvPr/>
        </p:nvSpPr>
        <p:spPr bwMode="auto">
          <a:xfrm>
            <a:off x="534074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4. User interface</a:t>
            </a:r>
          </a:p>
        </p:txBody>
      </p:sp>
      <p:sp>
        <p:nvSpPr>
          <p:cNvPr id="66" name="Rounded Rectangle 5">
            <a:extLst>
              <a:ext uri="{FF2B5EF4-FFF2-40B4-BE49-F238E27FC236}">
                <a16:creationId xmlns:a16="http://schemas.microsoft.com/office/drawing/2014/main" id="{1552E2D5-E88D-5C36-7A77-CDFABA5DB56B}"/>
              </a:ext>
            </a:extLst>
          </p:cNvPr>
          <p:cNvSpPr/>
          <p:nvPr/>
        </p:nvSpPr>
        <p:spPr bwMode="auto">
          <a:xfrm>
            <a:off x="694155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5. Orchestration</a:t>
            </a:r>
          </a:p>
        </p:txBody>
      </p:sp>
      <p:sp>
        <p:nvSpPr>
          <p:cNvPr id="68" name="Rounded Rectangle 5">
            <a:extLst>
              <a:ext uri="{FF2B5EF4-FFF2-40B4-BE49-F238E27FC236}">
                <a16:creationId xmlns:a16="http://schemas.microsoft.com/office/drawing/2014/main" id="{2CDEF859-A698-800B-2EAC-84D9193DF841}"/>
              </a:ext>
            </a:extLst>
          </p:cNvPr>
          <p:cNvSpPr/>
          <p:nvPr/>
        </p:nvSpPr>
        <p:spPr bwMode="auto">
          <a:xfrm>
            <a:off x="854236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6. Data retrieving</a:t>
            </a:r>
          </a:p>
        </p:txBody>
      </p:sp>
      <p:sp>
        <p:nvSpPr>
          <p:cNvPr id="71" name="Rounded Rectangle 4">
            <a:extLst>
              <a:ext uri="{FF2B5EF4-FFF2-40B4-BE49-F238E27FC236}">
                <a16:creationId xmlns:a16="http://schemas.microsoft.com/office/drawing/2014/main" id="{C24D777A-83FD-C93C-8A74-EAC86D18B1D4}"/>
              </a:ext>
            </a:extLst>
          </p:cNvPr>
          <p:cNvSpPr/>
          <p:nvPr/>
        </p:nvSpPr>
        <p:spPr bwMode="auto">
          <a:xfrm>
            <a:off x="1014317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create user response based on retrieve data and send to User app</a:t>
            </a:r>
          </a:p>
        </p:txBody>
      </p:sp>
      <p:sp>
        <p:nvSpPr>
          <p:cNvPr id="75" name="Rounded Rectangle 5">
            <a:extLst>
              <a:ext uri="{FF2B5EF4-FFF2-40B4-BE49-F238E27FC236}">
                <a16:creationId xmlns:a16="http://schemas.microsoft.com/office/drawing/2014/main" id="{989A5609-5655-BC66-94AD-E9163E6EEF77}"/>
              </a:ext>
            </a:extLst>
          </p:cNvPr>
          <p:cNvSpPr/>
          <p:nvPr/>
        </p:nvSpPr>
        <p:spPr bwMode="auto">
          <a:xfrm>
            <a:off x="1014317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7. Orchestration</a:t>
            </a:r>
          </a:p>
        </p:txBody>
      </p:sp>
      <p:grpSp>
        <p:nvGrpSpPr>
          <p:cNvPr id="6" name="Group 5">
            <a:extLst>
              <a:ext uri="{FF2B5EF4-FFF2-40B4-BE49-F238E27FC236}">
                <a16:creationId xmlns:a16="http://schemas.microsoft.com/office/drawing/2014/main" id="{63586D0C-2D90-3BD2-9125-210ADD1B9E69}"/>
              </a:ext>
              <a:ext uri="{C183D7F6-B498-43B3-948B-1728B52AA6E4}">
                <adec:decorative xmlns:adec="http://schemas.microsoft.com/office/drawing/2017/decorative" val="1"/>
              </a:ext>
            </a:extLst>
          </p:cNvPr>
          <p:cNvGrpSpPr/>
          <p:nvPr/>
        </p:nvGrpSpPr>
        <p:grpSpPr>
          <a:xfrm>
            <a:off x="5664783" y="2158892"/>
            <a:ext cx="569891" cy="415129"/>
            <a:chOff x="878175" y="2720627"/>
            <a:chExt cx="3307848" cy="2409554"/>
          </a:xfrm>
          <a:effectLst>
            <a:outerShdw blurRad="63500" dist="127000" dir="2700000" algn="tl" rotWithShape="0">
              <a:prstClr val="black">
                <a:alpha val="20000"/>
              </a:prstClr>
            </a:outerShdw>
          </a:effectLst>
        </p:grpSpPr>
        <p:sp>
          <p:nvSpPr>
            <p:cNvPr id="8" name="Freeform: Shape 7">
              <a:extLst>
                <a:ext uri="{FF2B5EF4-FFF2-40B4-BE49-F238E27FC236}">
                  <a16:creationId xmlns:a16="http://schemas.microsoft.com/office/drawing/2014/main" id="{DF0E397E-1737-CD6B-BF86-BD27FE19EDD9}"/>
                </a:ext>
              </a:extLst>
            </p:cNvPr>
            <p:cNvSpPr/>
            <p:nvPr/>
          </p:nvSpPr>
          <p:spPr>
            <a:xfrm>
              <a:off x="878175" y="2720627"/>
              <a:ext cx="3307848" cy="2409554"/>
            </a:xfrm>
            <a:custGeom>
              <a:avLst/>
              <a:gdLst>
                <a:gd name="connsiteX0" fmla="*/ 3307848 w 3307848"/>
                <a:gd name="connsiteY0" fmla="*/ 1655757 h 2409554"/>
                <a:gd name="connsiteX1" fmla="*/ 2662818 w 3307848"/>
                <a:gd name="connsiteY1" fmla="*/ 919949 h 2409554"/>
                <a:gd name="connsiteX2" fmla="*/ 1698029 w 3307848"/>
                <a:gd name="connsiteY2" fmla="*/ 190 h 2409554"/>
                <a:gd name="connsiteX3" fmla="*/ 779182 w 3307848"/>
                <a:gd name="connsiteY3" fmla="*/ 642182 h 2409554"/>
                <a:gd name="connsiteX4" fmla="*/ 0 w 3307848"/>
                <a:gd name="connsiteY4" fmla="*/ 1521472 h 2409554"/>
                <a:gd name="connsiteX5" fmla="*/ 931711 w 3307848"/>
                <a:gd name="connsiteY5" fmla="*/ 2408120 h 2409554"/>
                <a:gd name="connsiteX6" fmla="*/ 1012569 w 3307848"/>
                <a:gd name="connsiteY6" fmla="*/ 2408120 h 2409554"/>
                <a:gd name="connsiteX7" fmla="*/ 2521315 w 3307848"/>
                <a:gd name="connsiteY7" fmla="*/ 2408120 h 2409554"/>
                <a:gd name="connsiteX8" fmla="*/ 2561745 w 3307848"/>
                <a:gd name="connsiteY8" fmla="*/ 2408120 h 2409554"/>
                <a:gd name="connsiteX9" fmla="*/ 3307848 w 3307848"/>
                <a:gd name="connsiteY9" fmla="*/ 1655757 h 240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7848" h="2409554">
                  <a:moveTo>
                    <a:pt x="3307848" y="1655757"/>
                  </a:moveTo>
                  <a:cubicBezTo>
                    <a:pt x="3301140" y="1285743"/>
                    <a:pt x="3028464" y="974681"/>
                    <a:pt x="2662818" y="919949"/>
                  </a:cubicBezTo>
                  <a:cubicBezTo>
                    <a:pt x="2647786" y="400320"/>
                    <a:pt x="2217251" y="-10122"/>
                    <a:pt x="1698029" y="190"/>
                  </a:cubicBezTo>
                  <a:cubicBezTo>
                    <a:pt x="1286260" y="-4026"/>
                    <a:pt x="917207" y="253828"/>
                    <a:pt x="779182" y="642182"/>
                  </a:cubicBezTo>
                  <a:cubicBezTo>
                    <a:pt x="336427" y="699172"/>
                    <a:pt x="3703" y="1074644"/>
                    <a:pt x="0" y="1521472"/>
                  </a:cubicBezTo>
                  <a:cubicBezTo>
                    <a:pt x="17941" y="2021508"/>
                    <a:pt x="431909" y="2415441"/>
                    <a:pt x="931711" y="2408120"/>
                  </a:cubicBezTo>
                  <a:lnTo>
                    <a:pt x="1012569" y="2408120"/>
                  </a:lnTo>
                  <a:lnTo>
                    <a:pt x="2521315" y="2408120"/>
                  </a:lnTo>
                  <a:cubicBezTo>
                    <a:pt x="2534731" y="2410033"/>
                    <a:pt x="2548329" y="2410033"/>
                    <a:pt x="2561745" y="2408120"/>
                  </a:cubicBezTo>
                  <a:cubicBezTo>
                    <a:pt x="2973039" y="2401166"/>
                    <a:pt x="3303915" y="2067496"/>
                    <a:pt x="3307848" y="1655757"/>
                  </a:cubicBezTo>
                  <a:close/>
                </a:path>
              </a:pathLst>
            </a:custGeom>
            <a:gradFill>
              <a:gsLst>
                <a:gs pos="18000">
                  <a:srgbClr val="5EA0EF"/>
                </a:gs>
                <a:gs pos="100000">
                  <a:srgbClr val="0078D4"/>
                </a:gs>
              </a:gsLst>
              <a:lin ang="5400000" scaled="1"/>
            </a:gra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16370A26-518E-625A-8F12-62590B16ED0F}"/>
                </a:ext>
              </a:extLst>
            </p:cNvPr>
            <p:cNvSpPr/>
            <p:nvPr/>
          </p:nvSpPr>
          <p:spPr>
            <a:xfrm>
              <a:off x="1700952" y="3233020"/>
              <a:ext cx="1523821" cy="1531529"/>
            </a:xfrm>
            <a:custGeom>
              <a:avLst/>
              <a:gdLst>
                <a:gd name="connsiteX0" fmla="*/ 1443099 w 1523821"/>
                <a:gd name="connsiteY0" fmla="*/ 273271 h 1531529"/>
                <a:gd name="connsiteX1" fmla="*/ 668666 w 1523821"/>
                <a:gd name="connsiteY1" fmla="*/ 81159 h 1531529"/>
                <a:gd name="connsiteX2" fmla="*/ 412153 w 1523821"/>
                <a:gd name="connsiteY2" fmla="*/ 429630 h 1531529"/>
                <a:gd name="connsiteX3" fmla="*/ 472797 w 1523821"/>
                <a:gd name="connsiteY3" fmla="*/ 847201 h 1531529"/>
                <a:gd name="connsiteX4" fmla="*/ 42777 w 1523821"/>
                <a:gd name="connsiteY4" fmla="*/ 1283167 h 1531529"/>
                <a:gd name="connsiteX5" fmla="*/ 42268 w 1523821"/>
                <a:gd name="connsiteY5" fmla="*/ 1488678 h 1531529"/>
                <a:gd name="connsiteX6" fmla="*/ 42777 w 1523821"/>
                <a:gd name="connsiteY6" fmla="*/ 1489193 h 1531529"/>
                <a:gd name="connsiteX7" fmla="*/ 145687 w 1523821"/>
                <a:gd name="connsiteY7" fmla="*/ 1531502 h 1531529"/>
                <a:gd name="connsiteX8" fmla="*/ 248598 w 1523821"/>
                <a:gd name="connsiteY8" fmla="*/ 1489193 h 1531529"/>
                <a:gd name="connsiteX9" fmla="*/ 676781 w 1523821"/>
                <a:gd name="connsiteY9" fmla="*/ 1055066 h 1531529"/>
                <a:gd name="connsiteX10" fmla="*/ 825634 w 1523821"/>
                <a:gd name="connsiteY10" fmla="*/ 1115771 h 1531529"/>
                <a:gd name="connsiteX11" fmla="*/ 1508172 w 1523821"/>
                <a:gd name="connsiteY11" fmla="*/ 697166 h 1531529"/>
                <a:gd name="connsiteX12" fmla="*/ 1443099 w 1523821"/>
                <a:gd name="connsiteY12" fmla="*/ 273271 h 1531529"/>
                <a:gd name="connsiteX13" fmla="*/ 1343864 w 1523821"/>
                <a:gd name="connsiteY13" fmla="*/ 659570 h 1531529"/>
                <a:gd name="connsiteX14" fmla="*/ 959786 w 1523821"/>
                <a:gd name="connsiteY14" fmla="*/ 963091 h 1531529"/>
                <a:gd name="connsiteX15" fmla="*/ 866063 w 1523821"/>
                <a:gd name="connsiteY15" fmla="*/ 950214 h 1531529"/>
                <a:gd name="connsiteX16" fmla="*/ 737425 w 1523821"/>
                <a:gd name="connsiteY16" fmla="*/ 891349 h 1531529"/>
                <a:gd name="connsiteX17" fmla="*/ 634514 w 1523821"/>
                <a:gd name="connsiteY17" fmla="*/ 788336 h 1531529"/>
                <a:gd name="connsiteX18" fmla="*/ 577545 w 1523821"/>
                <a:gd name="connsiteY18" fmla="*/ 470100 h 1531529"/>
                <a:gd name="connsiteX19" fmla="*/ 959786 w 1523821"/>
                <a:gd name="connsiteY19" fmla="*/ 164740 h 1531529"/>
                <a:gd name="connsiteX20" fmla="*/ 1055346 w 1523821"/>
                <a:gd name="connsiteY20" fmla="*/ 175777 h 1531529"/>
                <a:gd name="connsiteX21" fmla="*/ 1297921 w 1523821"/>
                <a:gd name="connsiteY21" fmla="*/ 359728 h 1531529"/>
                <a:gd name="connsiteX22" fmla="*/ 1343864 w 1523821"/>
                <a:gd name="connsiteY22" fmla="*/ 659570 h 153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821" h="1531529">
                  <a:moveTo>
                    <a:pt x="1443099" y="273271"/>
                  </a:moveTo>
                  <a:cubicBezTo>
                    <a:pt x="1282246" y="6155"/>
                    <a:pt x="935517" y="-79856"/>
                    <a:pt x="668666" y="81159"/>
                  </a:cubicBezTo>
                  <a:cubicBezTo>
                    <a:pt x="540319" y="158603"/>
                    <a:pt x="448027" y="283981"/>
                    <a:pt x="412153" y="429630"/>
                  </a:cubicBezTo>
                  <a:cubicBezTo>
                    <a:pt x="379404" y="571510"/>
                    <a:pt x="401044" y="720528"/>
                    <a:pt x="472797" y="847201"/>
                  </a:cubicBezTo>
                  <a:lnTo>
                    <a:pt x="42777" y="1283167"/>
                  </a:lnTo>
                  <a:cubicBezTo>
                    <a:pt x="-14059" y="1339769"/>
                    <a:pt x="-14287" y="1431781"/>
                    <a:pt x="42268" y="1488678"/>
                  </a:cubicBezTo>
                  <a:cubicBezTo>
                    <a:pt x="42437" y="1488862"/>
                    <a:pt x="42606" y="1489027"/>
                    <a:pt x="42777" y="1489193"/>
                  </a:cubicBezTo>
                  <a:cubicBezTo>
                    <a:pt x="69991" y="1516583"/>
                    <a:pt x="107092" y="1531851"/>
                    <a:pt x="145687" y="1531502"/>
                  </a:cubicBezTo>
                  <a:cubicBezTo>
                    <a:pt x="184364" y="1532274"/>
                    <a:pt x="221628" y="1516951"/>
                    <a:pt x="248598" y="1489193"/>
                  </a:cubicBezTo>
                  <a:lnTo>
                    <a:pt x="676781" y="1055066"/>
                  </a:lnTo>
                  <a:cubicBezTo>
                    <a:pt x="723326" y="1082144"/>
                    <a:pt x="773431" y="1102581"/>
                    <a:pt x="825634" y="1115771"/>
                  </a:cubicBezTo>
                  <a:cubicBezTo>
                    <a:pt x="1129588" y="1188836"/>
                    <a:pt x="1435179" y="1001426"/>
                    <a:pt x="1508172" y="697166"/>
                  </a:cubicBezTo>
                  <a:cubicBezTo>
                    <a:pt x="1542812" y="552792"/>
                    <a:pt x="1519437" y="400577"/>
                    <a:pt x="1443099" y="273271"/>
                  </a:cubicBezTo>
                  <a:close/>
                  <a:moveTo>
                    <a:pt x="1343864" y="659570"/>
                  </a:moveTo>
                  <a:cubicBezTo>
                    <a:pt x="1300770" y="837098"/>
                    <a:pt x="1142305" y="962336"/>
                    <a:pt x="959786" y="963091"/>
                  </a:cubicBezTo>
                  <a:cubicBezTo>
                    <a:pt x="928089" y="963348"/>
                    <a:pt x="896521" y="959007"/>
                    <a:pt x="866063" y="950214"/>
                  </a:cubicBezTo>
                  <a:cubicBezTo>
                    <a:pt x="819570" y="939729"/>
                    <a:pt x="775763" y="919696"/>
                    <a:pt x="737425" y="891349"/>
                  </a:cubicBezTo>
                  <a:cubicBezTo>
                    <a:pt x="696990" y="863753"/>
                    <a:pt x="662083" y="828811"/>
                    <a:pt x="634514" y="788336"/>
                  </a:cubicBezTo>
                  <a:cubicBezTo>
                    <a:pt x="571538" y="695047"/>
                    <a:pt x="550849" y="579474"/>
                    <a:pt x="577545" y="470100"/>
                  </a:cubicBezTo>
                  <a:cubicBezTo>
                    <a:pt x="618555" y="291745"/>
                    <a:pt x="776950" y="165207"/>
                    <a:pt x="959786" y="164740"/>
                  </a:cubicBezTo>
                  <a:cubicBezTo>
                    <a:pt x="991954" y="164782"/>
                    <a:pt x="1024013" y="168485"/>
                    <a:pt x="1055346" y="175777"/>
                  </a:cubicBezTo>
                  <a:cubicBezTo>
                    <a:pt x="1157227" y="202768"/>
                    <a:pt x="1244389" y="268860"/>
                    <a:pt x="1297921" y="359728"/>
                  </a:cubicBezTo>
                  <a:cubicBezTo>
                    <a:pt x="1352832" y="449447"/>
                    <a:pt x="1369389" y="557503"/>
                    <a:pt x="1343864" y="659570"/>
                  </a:cubicBezTo>
                  <a:close/>
                </a:path>
              </a:pathLst>
            </a:custGeom>
            <a:solidFill>
              <a:srgbClr val="F2F2F2"/>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F7F29EF4-A1EC-4E00-A76D-023F632A8838}"/>
                </a:ext>
              </a:extLst>
            </p:cNvPr>
            <p:cNvSpPr/>
            <p:nvPr/>
          </p:nvSpPr>
          <p:spPr>
            <a:xfrm>
              <a:off x="2263796" y="3401439"/>
              <a:ext cx="790208" cy="794671"/>
            </a:xfrm>
            <a:custGeom>
              <a:avLst/>
              <a:gdLst>
                <a:gd name="connsiteX0" fmla="*/ 790208 w 790208"/>
                <a:gd name="connsiteY0" fmla="*/ 397336 h 794671"/>
                <a:gd name="connsiteX1" fmla="*/ 395104 w 790208"/>
                <a:gd name="connsiteY1" fmla="*/ 794672 h 794671"/>
                <a:gd name="connsiteX2" fmla="*/ 0 w 790208"/>
                <a:gd name="connsiteY2" fmla="*/ 397336 h 794671"/>
                <a:gd name="connsiteX3" fmla="*/ 395104 w 790208"/>
                <a:gd name="connsiteY3" fmla="*/ 0 h 794671"/>
                <a:gd name="connsiteX4" fmla="*/ 790208 w 790208"/>
                <a:gd name="connsiteY4" fmla="*/ 397336 h 794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208" h="794671">
                  <a:moveTo>
                    <a:pt x="790208" y="397336"/>
                  </a:moveTo>
                  <a:cubicBezTo>
                    <a:pt x="790208" y="616779"/>
                    <a:pt x="613314" y="794672"/>
                    <a:pt x="395104" y="794672"/>
                  </a:cubicBezTo>
                  <a:cubicBezTo>
                    <a:pt x="176894" y="794672"/>
                    <a:pt x="0" y="616779"/>
                    <a:pt x="0" y="397336"/>
                  </a:cubicBezTo>
                  <a:cubicBezTo>
                    <a:pt x="0" y="177893"/>
                    <a:pt x="176894" y="0"/>
                    <a:pt x="395104" y="0"/>
                  </a:cubicBezTo>
                  <a:cubicBezTo>
                    <a:pt x="613314" y="0"/>
                    <a:pt x="790208" y="177893"/>
                    <a:pt x="790208" y="397336"/>
                  </a:cubicBezTo>
                  <a:close/>
                </a:path>
              </a:pathLst>
            </a:custGeom>
            <a:solidFill>
              <a:srgbClr val="83B9F9"/>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pic>
        <p:nvPicPr>
          <p:cNvPr id="42" name="Graphic 41">
            <a:extLst>
              <a:ext uri="{FF2B5EF4-FFF2-40B4-BE49-F238E27FC236}">
                <a16:creationId xmlns:a16="http://schemas.microsoft.com/office/drawing/2014/main" id="{36A5B028-CE4F-F262-F93C-6B8B6B3A9F8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24985" y="2272051"/>
            <a:ext cx="548640" cy="548640"/>
          </a:xfrm>
          <a:prstGeom prst="rect">
            <a:avLst/>
          </a:prstGeom>
        </p:spPr>
      </p:pic>
      <p:pic>
        <p:nvPicPr>
          <p:cNvPr id="43" name="Graphic 42">
            <a:extLst>
              <a:ext uri="{FF2B5EF4-FFF2-40B4-BE49-F238E27FC236}">
                <a16:creationId xmlns:a16="http://schemas.microsoft.com/office/drawing/2014/main" id="{A26DD6EE-7E3F-0467-6F53-4E0C0F30F0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58021" y="2266490"/>
            <a:ext cx="548640" cy="548640"/>
          </a:xfrm>
          <a:prstGeom prst="rect">
            <a:avLst/>
          </a:prstGeom>
        </p:spPr>
      </p:pic>
    </p:spTree>
    <p:extLst>
      <p:ext uri="{BB962C8B-B14F-4D97-AF65-F5344CB8AC3E}">
        <p14:creationId xmlns:p14="http://schemas.microsoft.com/office/powerpoint/2010/main" val="339702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0445B098-3DEA-D8F4-3638-C9C7E76358BE}"/>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DB51E5D3-BE62-B9A4-DA71-9090D73DC9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51252EF4-BC5E-EBB1-6A0E-CC05E4B634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1938FADE-ABE2-6028-993C-DE2BB77DA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7B39EC10-7E4C-44C6-30DE-13BF23A5F721}"/>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BD6C3E8B-0FB9-99A9-B2AF-4CDD19575F62}"/>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43B2C46D-8D90-BB16-37E8-6BAB1B5838FC}"/>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604EEF06-F21A-21F7-8668-C5E930A1F586}"/>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C86A4DB9-A66E-EA0D-C600-29AFAE2F1D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D6F0041F-8F41-285C-61E2-8C89381420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60395C32-2CF7-3FEE-F528-BCB84FC75980}"/>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21176B90-EF4E-AED7-50E1-0B24DEC28047}"/>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A962A4B1-DDCC-FC67-9D0A-6D74D32EB8D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5E6D6314-9F15-2181-2A6A-60AAAF110E95}"/>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B43CDEFA-01B2-F46B-D36B-99FAA25A6311}"/>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37C8266D-745B-475F-77C4-59266A93D055}"/>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7E7A1996-644D-B302-47C0-91C8A4FB6E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7B652D18-9921-EA5F-8BC5-A442B0B54B7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A1BEB4D0-C513-BB65-C9CF-912FE6B9A98D}"/>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DEC616C-32D4-B5CA-0AD0-34E7CD3F00B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284EEF68-70C3-28AE-957B-D46386A9AD2A}"/>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B5440DA1-CE35-1EC6-1672-6FBEE849339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DCD94FE9-864B-09A9-A73B-B59A0B5163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E73FB141-10F3-6D31-FB58-B86572FA5D5A}"/>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4E3ADF08-95AF-819B-56B2-4FDDDDE1BD1B}"/>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FEC41E34-A77E-C4AC-C5CB-ABC984945E1F}"/>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664EA6C4-FF68-4329-AACE-F0A50315AA0C}"/>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994880A3-230F-81A9-CB77-0990685F8C23}"/>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Microhack</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A20AEAF-2E74-534B-0757-14C883EBEE0A}"/>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94383BA5-8A61-67F4-F03A-2FC040C0A7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284A9AD-E1AE-91D0-37E9-069BAE08A9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81DC6E33-F27F-703A-6D49-223DC913C0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EA506022-7732-2EBA-C559-F35A2F3CE12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03419B86-7C0C-7416-9E6F-76BB8B7314D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A31C8886-4C67-3A70-0198-A09041B01064}"/>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A85B7957-67AE-2C6F-5876-24B0EF8AD881}"/>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F3F395F0-B409-2834-3BE6-98B15CDF4A8A}"/>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4AF10B90-0FDA-CC26-4AE7-5853662399DA}"/>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6093C32A-CA6A-06FC-135E-B9A6195F21C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41619BAE-7B21-C428-34B1-9E815B86BCCB}"/>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680C2C25-B9BE-05A4-4589-6026CABA0D9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1B6DD0EE-25F2-C607-E38A-7E92882E94B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591A6447-4471-1866-11D9-140B63AA31B6}"/>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B398F00D-7233-4926-399A-0A7B3D50FE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52DD7455-C84A-EC47-4C0C-86D4A9DC7323}"/>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8D4680BB-0F68-7213-B0A3-CCB768659A33}"/>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C29D600E-7746-7C2B-2FDC-B281AE0AC1FD}"/>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8BA75A47-D220-A70F-BEFC-6F311A487F03}"/>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D7B1E324-E8B1-D8C3-FA2F-8A80452E383F}"/>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41107C00-5A6A-07F8-FDF3-51AA6E3DEE8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gestion</a:t>
            </a:r>
          </a:p>
        </p:txBody>
      </p:sp>
      <p:sp>
        <p:nvSpPr>
          <p:cNvPr id="1141" name="Title 1140">
            <a:extLst>
              <a:ext uri="{FF2B5EF4-FFF2-40B4-BE49-F238E27FC236}">
                <a16:creationId xmlns:a16="http://schemas.microsoft.com/office/drawing/2014/main" id="{84094E9D-4911-4CD1-1BB3-9798F71E2BA9}"/>
              </a:ext>
            </a:extLst>
          </p:cNvPr>
          <p:cNvSpPr txBox="1">
            <a:spLocks/>
          </p:cNvSpPr>
          <p:nvPr/>
        </p:nvSpPr>
        <p:spPr>
          <a:xfrm>
            <a:off x="1712752" y="2555807"/>
            <a:ext cx="738408" cy="21544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eb App</a:t>
            </a:r>
            <a:endParaRPr kumimoji="0" lang="en-US" sz="1400" b="0" i="0" u="none" strike="noStrike" kern="1200" cap="none" spc="0" normalizeH="0" baseline="0" noProof="0" dirty="0">
              <a:ln>
                <a:noFill/>
              </a:ln>
              <a:solidFill>
                <a:srgbClr val="FFFFFF"/>
              </a:solidFill>
              <a:effectLst/>
              <a:uLnTx/>
              <a:uFillTx/>
              <a:latin typeface="Segoe Sans Text"/>
              <a:ea typeface="+mn-ea"/>
              <a:cs typeface="+mn-cs"/>
            </a:endParaRPr>
          </a:p>
        </p:txBody>
      </p:sp>
      <p:sp>
        <p:nvSpPr>
          <p:cNvPr id="1142" name="TextBox 1141">
            <a:extLst>
              <a:ext uri="{FF2B5EF4-FFF2-40B4-BE49-F238E27FC236}">
                <a16:creationId xmlns:a16="http://schemas.microsoft.com/office/drawing/2014/main" id="{B8F7C396-BD83-5E7E-370E-B1B0E68AAC88}"/>
              </a:ext>
            </a:extLst>
          </p:cNvPr>
          <p:cNvSpPr txBox="1"/>
          <p:nvPr/>
        </p:nvSpPr>
        <p:spPr>
          <a:xfrm>
            <a:off x="8092596" y="6193083"/>
            <a:ext cx="823944"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ialogi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31F2AEA0-5697-E782-DD77-1E33E17D893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BFE6896F-6DE6-0DD2-DBAB-5E529DD04584}"/>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Generation</a:t>
            </a:r>
          </a:p>
        </p:txBody>
      </p:sp>
    </p:spTree>
    <p:extLst>
      <p:ext uri="{BB962C8B-B14F-4D97-AF65-F5344CB8AC3E}">
        <p14:creationId xmlns:p14="http://schemas.microsoft.com/office/powerpoint/2010/main" val="704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4DCD2-1F56-0DB2-AA9F-F901D6A05EF9}"/>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EA6DE05-20A1-DB59-E9D4-EC8AF648499A}"/>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C569137C-E72A-B556-A95B-110536DF8926}"/>
              </a:ext>
            </a:extLst>
          </p:cNvPr>
          <p:cNvGraphicFramePr>
            <a:graphicFrameLocks noGrp="1"/>
          </p:cNvGraphicFramePr>
          <p:nvPr>
            <p:extLst>
              <p:ext uri="{D42A27DB-BD31-4B8C-83A1-F6EECF244321}">
                <p14:modId xmlns:p14="http://schemas.microsoft.com/office/powerpoint/2010/main" val="3307392807"/>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dirty="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9010696"/>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99AD91B4-E782-DC51-A279-31AA2C7C16C3}"/>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1950432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a:t>
            </a:r>
            <a:r>
              <a:rPr lang="en-US" b="1">
                <a:gradFill flip="none" rotWithShape="1">
                  <a:gsLst>
                    <a:gs pos="12000">
                      <a:srgbClr val="D59ED7"/>
                    </a:gs>
                    <a:gs pos="86000">
                      <a:srgbClr val="8DC8E8"/>
                    </a:gs>
                  </a:gsLst>
                  <a:lin ang="18900000" scaled="1"/>
                  <a:tileRect/>
                </a:gradFill>
                <a:latin typeface="Segoe UI Semibold"/>
              </a:rPr>
              <a:t>-On Hac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E58699D4-19AD-2CE9-C9C7-B6C758DA939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7184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D413546A-3B26-99DA-306F-029301A939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CA887-C34A-7D8E-DDE3-30CCE8BC023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38ECB61-40EE-C41C-24CC-2CD1302E2730}"/>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674A50B1-C8C1-5422-E4EE-82B4CEE29D9D}"/>
              </a:ext>
            </a:extLst>
          </p:cNvPr>
          <p:cNvGraphicFramePr>
            <a:graphicFrameLocks noGrp="1"/>
          </p:cNvGraphicFramePr>
          <p:nvPr>
            <p:extLst>
              <p:ext uri="{D42A27DB-BD31-4B8C-83A1-F6EECF244321}">
                <p14:modId xmlns:p14="http://schemas.microsoft.com/office/powerpoint/2010/main" val="134570644"/>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50 – 12:5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6749239"/>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Break</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2:50 – 1:0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0 – 2:0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dirty="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6029E0D6-1479-4C76-7D71-20BAEEC5155F}"/>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3" name="TextBox 2">
            <a:extLst>
              <a:ext uri="{FF2B5EF4-FFF2-40B4-BE49-F238E27FC236}">
                <a16:creationId xmlns:a16="http://schemas.microsoft.com/office/drawing/2014/main" id="{FD22759B-B84D-7AF6-EA07-D4F6072A73FD}"/>
              </a:ext>
            </a:extLst>
          </p:cNvPr>
          <p:cNvSpPr txBox="1"/>
          <p:nvPr/>
        </p:nvSpPr>
        <p:spPr>
          <a:xfrm>
            <a:off x="2602753" y="5881594"/>
            <a:ext cx="5879110" cy="369332"/>
          </a:xfrm>
          <a:prstGeom prst="rect">
            <a:avLst/>
          </a:prstGeom>
          <a:noFill/>
        </p:spPr>
        <p:txBody>
          <a:bodyPr wrap="none" rtlCol="0">
            <a:spAutoFit/>
          </a:bodyPr>
          <a:lstStyle/>
          <a:p>
            <a:r>
              <a:rPr lang="en-US" dirty="0">
                <a:solidFill>
                  <a:schemeClr val="bg1"/>
                </a:solidFill>
              </a:rPr>
              <a:t>GitHub: 	</a:t>
            </a:r>
            <a:r>
              <a:rPr lang="en-US" dirty="0">
                <a:solidFill>
                  <a:srgbClr val="00B0F0"/>
                </a:solidFill>
                <a:hlinkClick r:id="rId4">
                  <a:extLst>
                    <a:ext uri="{A12FA001-AC4F-418D-AE19-62706E023703}">
                      <ahyp:hlinkClr xmlns:ahyp="http://schemas.microsoft.com/office/drawing/2018/hyperlinkcolor" val="tx"/>
                    </a:ext>
                  </a:extLst>
                </a:hlinkClick>
              </a:rPr>
              <a:t>https://github.com/microsoft/microhacks-rag-ai</a:t>
            </a:r>
            <a:r>
              <a:rPr lang="en-US" dirty="0">
                <a:solidFill>
                  <a:srgbClr val="00B0F0"/>
                </a:solidFill>
              </a:rPr>
              <a:t> </a:t>
            </a:r>
          </a:p>
        </p:txBody>
      </p:sp>
    </p:spTree>
    <p:extLst>
      <p:ext uri="{BB962C8B-B14F-4D97-AF65-F5344CB8AC3E}">
        <p14:creationId xmlns:p14="http://schemas.microsoft.com/office/powerpoint/2010/main" val="1372010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Brea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116AB21F-6A99-5326-7895-B4E459684060}"/>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386924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BD022E9-AFB4-63DC-68AA-F3617EC1E4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239256-24C0-F1B8-E6C7-C17371BAD85E}"/>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47E7FE8B-C7F1-613D-3529-1A04D822E8D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ACA3C1F8-524B-283B-08B2-1F709335FFF8}"/>
              </a:ext>
            </a:extLst>
          </p:cNvPr>
          <p:cNvGraphicFramePr>
            <a:graphicFrameLocks noGrp="1"/>
          </p:cNvGraphicFramePr>
          <p:nvPr>
            <p:extLst>
              <p:ext uri="{D42A27DB-BD31-4B8C-83A1-F6EECF244321}">
                <p14:modId xmlns:p14="http://schemas.microsoft.com/office/powerpoint/2010/main" val="3641718746"/>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dirty="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dirty="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4981778"/>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Break</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2:50 – 1:0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5BDE91AB-6E67-62B0-E1BA-5AAC6A29D990}"/>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1141906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Show &amp; Tell</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543ACDC-D6C5-15E2-F97F-171A44E1060F}"/>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1497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C80C2D2D-3211-6DD8-E94A-78CAC34C6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77D6E9-38A3-D65F-5F10-69F5903B8CE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C0A44491-B1D9-8680-F1FC-67FF83F680F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55120DED-9CB4-82C5-CF2A-C0F0F5CE44E7}"/>
              </a:ext>
            </a:extLst>
          </p:cNvPr>
          <p:cNvGraphicFramePr>
            <a:graphicFrameLocks noGrp="1"/>
          </p:cNvGraphicFramePr>
          <p:nvPr>
            <p:extLst>
              <p:ext uri="{D42A27DB-BD31-4B8C-83A1-F6EECF244321}">
                <p14:modId xmlns:p14="http://schemas.microsoft.com/office/powerpoint/2010/main" val="507424474"/>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dirty="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dirty="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0691590"/>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Show &amp; Tell</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45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2:00 – 2:45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11D9CB48-E182-4793-8D68-FC794F58A71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0678086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A0B316A-2C70-B428-E786-760AC2284743}"/>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5BE9672-5AC8-BB73-7C7C-D79FFEA73A7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407857CB-5768-0FC1-EB75-AA552762DE1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 name="TextBox 1">
            <a:extLst>
              <a:ext uri="{FF2B5EF4-FFF2-40B4-BE49-F238E27FC236}">
                <a16:creationId xmlns:a16="http://schemas.microsoft.com/office/drawing/2014/main" id="{8AF58ED8-5768-8D9F-86B8-893AB9015129}"/>
              </a:ext>
            </a:extLst>
          </p:cNvPr>
          <p:cNvSpPr txBox="1"/>
          <p:nvPr/>
        </p:nvSpPr>
        <p:spPr>
          <a:xfrm>
            <a:off x="1567013" y="885696"/>
            <a:ext cx="9012082" cy="461664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structions:</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Each team will have 5 minutes to share their topic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Make sure that everyone s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Make sure that everyone is on camera when they are spea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There are no wrong answers and no penalty for not having finished (but we </a:t>
            </a:r>
            <a:br>
              <a:rPr kumimoji="0" lang="en-US" sz="2000" b="0" i="0" u="none" strike="noStrike" kern="1200" cap="none" spc="0" normalizeH="0" baseline="0" noProof="0">
                <a:ln>
                  <a:noFill/>
                </a:ln>
                <a:solidFill>
                  <a:schemeClr val="bg1"/>
                </a:solidFill>
                <a:effectLst/>
                <a:uLnTx/>
                <a:uFillTx/>
                <a:latin typeface="Segoe Sans Text"/>
                <a:ea typeface="+mn-ea"/>
                <a:cs typeface="+mn-cs"/>
              </a:rPr>
            </a:br>
            <a:r>
              <a:rPr kumimoji="0" lang="en-US" sz="2000" b="0" i="0" u="none" strike="noStrike" kern="1200" cap="none" spc="0" normalizeH="0" baseline="0" noProof="0">
                <a:ln>
                  <a:noFill/>
                </a:ln>
                <a:solidFill>
                  <a:schemeClr val="bg1"/>
                </a:solidFill>
                <a:effectLst/>
                <a:uLnTx/>
                <a:uFillTx/>
                <a:latin typeface="Segoe Sans Text"/>
                <a:ea typeface="+mn-ea"/>
                <a:cs typeface="+mn-cs"/>
              </a:rPr>
              <a:t>would love to know what held you back from finishing) </a:t>
            </a:r>
            <a:endParaRPr lang="en-US" sz="2000">
              <a:solidFill>
                <a:schemeClr val="bg1"/>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2000" noProof="0">
              <a:solidFill>
                <a:schemeClr val="bg1"/>
              </a:solidFill>
              <a:latin typeface="Segoe Sans Text"/>
            </a:endParaRPr>
          </a:p>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opics to Share for Show &amp; Tell:</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indent="-342900">
              <a:buFont typeface="Arial" panose="020B0604020202020204" pitchFamily="34" charset="0"/>
              <a:buChar char="•"/>
              <a:defRPr/>
            </a:pPr>
            <a:r>
              <a:rPr lang="en-US" sz="2000">
                <a:solidFill>
                  <a:schemeClr val="bg1"/>
                </a:solidFill>
                <a:latin typeface="Segoe Sans Text"/>
              </a:rPr>
              <a:t>Name one thing you learned</a:t>
            </a:r>
          </a:p>
          <a:p>
            <a:pPr marL="342900" indent="-342900">
              <a:buFont typeface="Arial" panose="020B0604020202020204" pitchFamily="34" charset="0"/>
              <a:buChar char="•"/>
              <a:defRPr/>
            </a:pPr>
            <a:r>
              <a:rPr lang="en-US" sz="2000">
                <a:solidFill>
                  <a:schemeClr val="bg1"/>
                </a:solidFill>
                <a:latin typeface="Segoe Sans Text"/>
              </a:rPr>
              <a:t>What was more difficult than you expected?</a:t>
            </a:r>
          </a:p>
          <a:p>
            <a:pPr marL="342900" indent="-342900">
              <a:buFont typeface="Arial" panose="020B0604020202020204" pitchFamily="34" charset="0"/>
              <a:buChar char="•"/>
              <a:defRPr/>
            </a:pPr>
            <a:r>
              <a:rPr lang="en-US" sz="2000">
                <a:solidFill>
                  <a:schemeClr val="bg1"/>
                </a:solidFill>
                <a:latin typeface="Segoe Sans Text"/>
              </a:rPr>
              <a:t>What surprised you the most?</a:t>
            </a:r>
          </a:p>
          <a:p>
            <a:pPr marL="342900" indent="-342900">
              <a:buFont typeface="Arial" panose="020B0604020202020204" pitchFamily="34" charset="0"/>
              <a:buChar char="•"/>
              <a:defRPr/>
            </a:pPr>
            <a:r>
              <a:rPr lang="en-US" sz="2000">
                <a:solidFill>
                  <a:schemeClr val="bg1"/>
                </a:solidFill>
                <a:latin typeface="Segoe Sans Text"/>
              </a:rPr>
              <a:t>What do you think will be the biggest pushback from your customer as they </a:t>
            </a:r>
            <a:br>
              <a:rPr lang="en-US" sz="2000">
                <a:solidFill>
                  <a:schemeClr val="bg1"/>
                </a:solidFill>
                <a:latin typeface="Segoe Sans Text"/>
              </a:rPr>
            </a:br>
            <a:r>
              <a:rPr lang="en-US" sz="2000">
                <a:solidFill>
                  <a:schemeClr val="bg1"/>
                </a:solidFill>
                <a:latin typeface="Segoe Sans Text"/>
              </a:rPr>
              <a:t>look to adopt this technology?</a:t>
            </a:r>
          </a:p>
          <a:p>
            <a:pPr marL="342900" indent="-342900">
              <a:buFont typeface="Arial" panose="020B0604020202020204" pitchFamily="34" charset="0"/>
              <a:buChar char="•"/>
              <a:defRPr/>
            </a:pPr>
            <a:r>
              <a:rPr lang="en-US" sz="2000">
                <a:solidFill>
                  <a:schemeClr val="bg1"/>
                </a:solidFill>
                <a:latin typeface="Segoe Sans Text"/>
              </a:rPr>
              <a:t>Did you have any showstoppers?</a:t>
            </a:r>
          </a:p>
        </p:txBody>
      </p:sp>
      <p:sp>
        <p:nvSpPr>
          <p:cNvPr id="3" name="Title 2">
            <a:extLst>
              <a:ext uri="{FF2B5EF4-FFF2-40B4-BE49-F238E27FC236}">
                <a16:creationId xmlns:a16="http://schemas.microsoft.com/office/drawing/2014/main" id="{D9C7FFCD-5A94-41A0-6EB7-D10258526DCB}"/>
              </a:ext>
            </a:extLst>
          </p:cNvPr>
          <p:cNvSpPr>
            <a:spLocks noGrp="1"/>
          </p:cNvSpPr>
          <p:nvPr>
            <p:ph type="title"/>
          </p:nvPr>
        </p:nvSpPr>
        <p:spPr>
          <a:xfrm>
            <a:off x="585216" y="-553998"/>
            <a:ext cx="9144000" cy="553998"/>
          </a:xfrm>
        </p:spPr>
        <p:txBody>
          <a:bodyPr vert="horz" wrap="square" lIns="0" tIns="0" rIns="0" bIns="0" rtlCol="0" anchor="b" anchorCtr="0">
            <a:spAutoFit/>
          </a:bodyPr>
          <a:lstStyle/>
          <a:p>
            <a:r>
              <a:rPr lang="en-US" dirty="0"/>
              <a:t>Show and Tell Instructions</a:t>
            </a:r>
          </a:p>
        </p:txBody>
      </p:sp>
    </p:spTree>
    <p:extLst>
      <p:ext uri="{BB962C8B-B14F-4D97-AF65-F5344CB8AC3E}">
        <p14:creationId xmlns:p14="http://schemas.microsoft.com/office/powerpoint/2010/main" val="26720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Clos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11279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4B5FB4F-7A08-D788-C54D-9214FBF365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789EC-5701-1CA2-ADE5-AAD8626B7570}"/>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8364FBC-44BB-79BF-BA4F-552DED9B4C5D}"/>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2D4EDE2B-38E5-D87B-2869-DC2D32C1D44B}"/>
              </a:ext>
            </a:extLst>
          </p:cNvPr>
          <p:cNvGraphicFramePr>
            <a:graphicFrameLocks noGrp="1"/>
          </p:cNvGraphicFramePr>
          <p:nvPr>
            <p:extLst>
              <p:ext uri="{D42A27DB-BD31-4B8C-83A1-F6EECF244321}">
                <p14:modId xmlns:p14="http://schemas.microsoft.com/office/powerpoint/2010/main" val="4123390163"/>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6416511"/>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Close</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5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2:45 – 3:00 P.M. (EST)</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DC5C9B2B-F82A-D9CE-0681-04B236988A1B}"/>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244852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6533F057-A34B-D7F2-F1A1-8EC97E879CA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A8B7E6F8-07A6-A125-3EF6-0C2352F57ABB}"/>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F35D4547-3A02-45E3-68EE-DA3DEBBC7432}"/>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20BBA97F-2B3A-8F17-3F73-D4C673E083E8}"/>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9DC03C93-75C9-8810-A338-1A106DC44DF5}"/>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6DCE865C-6C90-573C-A1DC-D5B5673A6408}"/>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pic>
        <p:nvPicPr>
          <p:cNvPr id="12" name="Picture 11">
            <a:extLst>
              <a:ext uri="{FF2B5EF4-FFF2-40B4-BE49-F238E27FC236}">
                <a16:creationId xmlns:a16="http://schemas.microsoft.com/office/drawing/2014/main" id="{E3B0B688-1982-D974-3072-077E31E746E6}"/>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itle 13">
            <a:extLst>
              <a:ext uri="{FF2B5EF4-FFF2-40B4-BE49-F238E27FC236}">
                <a16:creationId xmlns:a16="http://schemas.microsoft.com/office/drawing/2014/main" id="{1830B0EE-5CA9-070C-B2C2-AAB5A61A7B13}"/>
              </a:ext>
            </a:extLst>
          </p:cNvPr>
          <p:cNvSpPr txBox="1">
            <a:spLocks noGrp="1"/>
          </p:cNvSpPr>
          <p:nvPr>
            <p:ph type="title" idx="4294967295"/>
          </p:nvPr>
        </p:nvSpPr>
        <p:spPr>
          <a:xfrm>
            <a:off x="276150" y="189666"/>
            <a:ext cx="6097218"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dirty="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D9395DBC-EA29-EBCB-B756-C0877244A912}"/>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0494F738-4EA2-E9BD-F185-5319A442FD68}"/>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5" name="TextBox 4">
            <a:extLst>
              <a:ext uri="{FF2B5EF4-FFF2-40B4-BE49-F238E27FC236}">
                <a16:creationId xmlns:a16="http://schemas.microsoft.com/office/drawing/2014/main" id="{A6EEDBAC-1BB7-1414-D1D4-78F10EC30A62}"/>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dirty="0">
                <a:solidFill>
                  <a:schemeClr val="bg1"/>
                </a:solidFill>
              </a:rPr>
              <a:t>Join our Microhack Community | </a:t>
            </a:r>
            <a:r>
              <a:rPr lang="en-US" sz="2000" b="1" spc="-50" dirty="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dirty="0">
              <a:solidFill>
                <a:schemeClr val="bg1"/>
              </a:solidFill>
            </a:endParaRPr>
          </a:p>
        </p:txBody>
      </p:sp>
    </p:spTree>
    <p:extLst>
      <p:ext uri="{BB962C8B-B14F-4D97-AF65-F5344CB8AC3E}">
        <p14:creationId xmlns:p14="http://schemas.microsoft.com/office/powerpoint/2010/main" val="151304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856DDEF-C650-B24F-2833-D520DC6C747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34001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B45AEFC-1EF7-E5EA-C431-199438ECFAF7}"/>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FA038C1-7C4A-F50B-9166-8536E3D630D1}"/>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ED203284-0117-2C01-CCEF-285C78E48C59}"/>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07FA445C-1133-4400-1511-A39F83932F6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4836EB43-3EE6-0CE7-40F6-679A129A551A}"/>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End</a:t>
            </a:r>
            <a:endParaRPr lang="en-IN" spc="0">
              <a:solidFill>
                <a:schemeClr val="bg1"/>
              </a:solidFill>
              <a:latin typeface="Segoe UI Semibold" panose="020B0702040204020203" pitchFamily="34" charset="0"/>
              <a:cs typeface="Segoe UI Semibold" panose="020B0702040204020203" pitchFamily="34" charset="0"/>
            </a:endParaRPr>
          </a:p>
        </p:txBody>
      </p:sp>
      <p:pic>
        <p:nvPicPr>
          <p:cNvPr id="6" name="Picture 5">
            <a:extLst>
              <a:ext uri="{FF2B5EF4-FFF2-40B4-BE49-F238E27FC236}">
                <a16:creationId xmlns:a16="http://schemas.microsoft.com/office/drawing/2014/main" id="{37B5AD25-EC2A-E597-47B7-3360526F974F}"/>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2" name="Picture 1">
            <a:extLst>
              <a:ext uri="{FF2B5EF4-FFF2-40B4-BE49-F238E27FC236}">
                <a16:creationId xmlns:a16="http://schemas.microsoft.com/office/drawing/2014/main" id="{D4CDD84F-C25F-2DA8-0F39-BE86276A882B}"/>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4527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0445B098-3DEA-D8F4-3638-C9C7E76358BE}"/>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DB51E5D3-BE62-B9A4-DA71-9090D73DC9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51252EF4-BC5E-EBB1-6A0E-CC05E4B634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1938FADE-ABE2-6028-993C-DE2BB77DA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7B39EC10-7E4C-44C6-30DE-13BF23A5F721}"/>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BD6C3E8B-0FB9-99A9-B2AF-4CDD19575F62}"/>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43B2C46D-8D90-BB16-37E8-6BAB1B5838FC}"/>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604EEF06-F21A-21F7-8668-C5E930A1F586}"/>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C86A4DB9-A66E-EA0D-C600-29AFAE2F1D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D6F0041F-8F41-285C-61E2-8C89381420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60395C32-2CF7-3FEE-F528-BCB84FC75980}"/>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21176B90-EF4E-AED7-50E1-0B24DEC28047}"/>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A962A4B1-DDCC-FC67-9D0A-6D74D32EB8D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5E6D6314-9F15-2181-2A6A-60AAAF110E95}"/>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B43CDEFA-01B2-F46B-D36B-99FAA25A6311}"/>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37C8266D-745B-475F-77C4-59266A93D055}"/>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7E7A1996-644D-B302-47C0-91C8A4FB6E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7B652D18-9921-EA5F-8BC5-A442B0B54B7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A1BEB4D0-C513-BB65-C9CF-912FE6B9A98D}"/>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DEC616C-32D4-B5CA-0AD0-34E7CD3F00B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284EEF68-70C3-28AE-957B-D46386A9AD2A}"/>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B5440DA1-CE35-1EC6-1672-6FBEE849339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DCD94FE9-864B-09A9-A73B-B59A0B5163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E73FB141-10F3-6D31-FB58-B86572FA5D5A}"/>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4E3ADF08-95AF-819B-56B2-4FDDDDE1BD1B}"/>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FEC41E34-A77E-C4AC-C5CB-ABC984945E1F}"/>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664EA6C4-FF68-4329-AACE-F0A50315AA0C}"/>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994880A3-230F-81A9-CB77-0990685F8C23}"/>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RA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A20AEAF-2E74-534B-0757-14C883EBEE0A}"/>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94383BA5-8A61-67F4-F03A-2FC040C0A7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284A9AD-E1AE-91D0-37E9-069BAE08A9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81DC6E33-F27F-703A-6D49-223DC913C0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EA506022-7732-2EBA-C559-F35A2F3CE12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03419B86-7C0C-7416-9E6F-76BB8B7314D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A31C8886-4C67-3A70-0198-A09041B01064}"/>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A85B7957-67AE-2C6F-5876-24B0EF8AD881}"/>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F3F395F0-B409-2834-3BE6-98B15CDF4A8A}"/>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4AF10B90-0FDA-CC26-4AE7-5853662399DA}"/>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6093C32A-CA6A-06FC-135E-B9A6195F21C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41619BAE-7B21-C428-34B1-9E815B86BCCB}"/>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680C2C25-B9BE-05A4-4589-6026CABA0D9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1B6DD0EE-25F2-C607-E38A-7E92882E94B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591A6447-4471-1866-11D9-140B63AA31B6}"/>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B398F00D-7233-4926-399A-0A7B3D50FE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52DD7455-C84A-EC47-4C0C-86D4A9DC7323}"/>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8D4680BB-0F68-7213-B0A3-CCB768659A33}"/>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C29D600E-7746-7C2B-2FDC-B281AE0AC1FD}"/>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8BA75A47-D220-A70F-BEFC-6F311A487F03}"/>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D7B1E324-E8B1-D8C3-FA2F-8A80452E383F}"/>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41107C00-5A6A-07F8-FDF3-51AA6E3DEE8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84094E9D-4911-4CD1-1BB3-9798F71E2BA9}"/>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B8F7C396-BD83-5E7E-370E-B1B0E68AAC88}"/>
              </a:ext>
            </a:extLst>
          </p:cNvPr>
          <p:cNvSpPr txBox="1"/>
          <p:nvPr/>
        </p:nvSpPr>
        <p:spPr>
          <a:xfrm>
            <a:off x="8085383" y="6193083"/>
            <a:ext cx="83837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iagno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31F2AEA0-5697-E782-DD77-1E33E17D893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BFE6896F-6DE6-0DD2-DBAB-5E529DD04584}"/>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Generation</a:t>
            </a:r>
          </a:p>
        </p:txBody>
      </p:sp>
    </p:spTree>
    <p:extLst>
      <p:ext uri="{BB962C8B-B14F-4D97-AF65-F5344CB8AC3E}">
        <p14:creationId xmlns:p14="http://schemas.microsoft.com/office/powerpoint/2010/main" val="307668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6852061-5FF2-BB16-F408-03669440F6B3}"/>
            </a:ext>
          </a:extLst>
        </p:cNvPr>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54F5B295-357C-4C6A-D477-0F128C928082}"/>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3254BBB0-1BEF-EA40-ED7A-E852461053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F446E0A0-F67E-2414-5A06-52F1EF1EB1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C2D775F7-9468-AC7B-C7A2-CE2F9FBED35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0B6CD728-5CFB-13CD-E3A4-7C68F3E7C70E}"/>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F5061EC6-81A2-9FFA-748E-FFBD42C0C5C5}"/>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5D05D93F-E2B7-0FE6-C98A-E46D1A5975D3}"/>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B9AA12F8-482F-117E-6A59-FA8382E91B59}"/>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821D43BD-446D-3617-AC51-E7DF527AD7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09402A00-0D37-E723-8836-AA62A092BF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59B5F339-1892-E701-E125-D4F1AE580D5F}"/>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C48CBDE7-4B86-76C9-FC42-DCC0DE70EF31}"/>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8E8F8DB8-C342-A355-85FA-1D57FEE46EF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071B6409-42BF-0E9E-2C43-AEEFCEB4224C}"/>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E8DD6DD4-0012-ECAE-2C61-4AABFA68446C}"/>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B0077B83-F0BD-592E-87E2-DDAAC9A8AE5A}"/>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C242C1DE-CE70-DE5A-09DF-E142CF17C1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04D08C3F-9DC6-D603-905E-1F9FEAA758B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46542D44-6D6E-88EF-3EF3-54A7D94C45B8}"/>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061397A0-83D9-0D8C-D21F-FFE7D42D9A9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7471A505-7CB4-3CB1-C59B-6BC4F0C64456}"/>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D68DEEB8-F40D-14D0-66DD-D719BF42A2CD}"/>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E32D7B52-3045-DD06-05AF-D6D0F231715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56BC75B3-7374-F862-1AB1-4CD45A020885}"/>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8F0B35FD-5B1E-58FC-A45E-02F6BD5FA81F}"/>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09891E0E-53B3-9791-B2B0-97FDA3A5D3B1}"/>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472A19D2-9014-848B-BF5E-158957B3BF85}"/>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BE7C22F2-C9B5-B0BA-9FB8-C3DE4E15CA79}"/>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RA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3DABDFA-D6CB-6809-FE15-6A4BC1CF2A4E}"/>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CC122F85-DECA-3F86-F60C-558DF3C163F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F4A78CA4-214D-3DB2-8B6A-10AA696FE84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F70EB18D-2526-73CC-C411-2EED63F5F93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3A29DCDC-DFDD-3BDC-2B2E-AF4B3074A5C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F3492544-2946-4749-820C-1CC612C6C7C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842965CA-CB16-4D7E-0899-BF848B89476B}"/>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F91FC039-F0D2-4809-0AD6-CCFFFFCFFADB}"/>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65DECF9E-E5B1-75F1-737C-CE84A69D848E}"/>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1195926C-5CF6-ADF8-C021-3788B1CF819D}"/>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10D4ED04-0716-6D0B-1F3F-9910CE3A076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5DCE9694-DDE5-49B1-1CD4-98B2DDCE4563}"/>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A9CA9242-12E7-9143-431C-84941C76269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4ED1D541-E9CD-6011-A8A0-64645FC0A6C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BF0AE118-A8E3-3EE6-50A0-4BB74234478C}"/>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43150C7F-2548-0C52-5DCF-E482A83295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60032BBB-211E-23E0-4F71-7B00F44337A8}"/>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CEB6B36C-BF16-CF23-60E8-3C6F2F57D7D8}"/>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412B67FE-F6F3-B5E5-7CB1-0E3534CA1537}"/>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F5D50633-1520-3BC5-8711-E03A45E1F309}"/>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153B83A7-4B99-772C-3535-C2D11401FD22}"/>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82CF9287-9704-1811-14E5-B7D151EE9D5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03850DE7-F545-D644-4622-8E61FC96FCD2}"/>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E81DDA08-8431-F93E-75C6-D3FD09880157}"/>
              </a:ext>
            </a:extLst>
          </p:cNvPr>
          <p:cNvSpPr txBox="1"/>
          <p:nvPr/>
        </p:nvSpPr>
        <p:spPr>
          <a:xfrm>
            <a:off x="8085383" y="6193083"/>
            <a:ext cx="83837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iagno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0858624B-379D-5545-96B6-4F2BC2DAF57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42579E07-C1D2-A111-0337-C9AC1674BAB9}"/>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Generation</a:t>
            </a:r>
          </a:p>
        </p:txBody>
      </p:sp>
      <p:sp>
        <p:nvSpPr>
          <p:cNvPr id="3" name="Rectangle: Rounded Corners 2">
            <a:extLst>
              <a:ext uri="{FF2B5EF4-FFF2-40B4-BE49-F238E27FC236}">
                <a16:creationId xmlns:a16="http://schemas.microsoft.com/office/drawing/2014/main" id="{7365A9F2-E2D4-A054-B402-6100BB8264C2}"/>
              </a:ext>
            </a:extLst>
          </p:cNvPr>
          <p:cNvSpPr/>
          <p:nvPr/>
        </p:nvSpPr>
        <p:spPr bwMode="auto">
          <a:xfrm>
            <a:off x="6351431" y="2968070"/>
            <a:ext cx="1704492" cy="1475018"/>
          </a:xfrm>
          <a:prstGeom prst="roundRect">
            <a:avLst/>
          </a:prstGeom>
          <a:noFill/>
          <a:ln w="28575">
            <a:gradFill>
              <a:gsLst>
                <a:gs pos="0">
                  <a:srgbClr val="8DC8E8"/>
                </a:gs>
                <a:gs pos="100000">
                  <a:srgbClr val="D59ED7"/>
                </a:gs>
              </a:gsLst>
              <a:lin ang="5400000" scaled="1"/>
            </a:gradFill>
            <a:prstDash val="lgDash"/>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err="1">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7977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0197AA87-2EBF-057F-B1C3-B9E7BCC85BCB}"/>
            </a:ext>
          </a:extLst>
        </p:cNvPr>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61D233B7-E56F-5C4A-B538-15EA43D648D7}"/>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0CDD3C0B-69F9-47A7-39F4-45CC6B3BE4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6BB72E98-E391-B82B-0314-A0BB806EBA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DFE847AF-44CD-8D38-ABE8-AA48CA7705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4FF8FFF7-ACBF-9557-D7D7-13983F358496}"/>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EBE320BE-8A4E-2089-14AB-6A867B4CB77B}"/>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D284878B-8B79-D7E9-356F-A55D7EE6AF73}"/>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4CE23DE2-6E27-0481-7329-1934EA825403}"/>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BB184A8E-3294-9E24-1439-27F29DC8F2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2918CC3B-FBEC-1FE2-73B4-04BA02D80D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51D5F2AC-4F6D-A77C-AF3E-C3A17DA182C3}"/>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509C28E4-4845-C425-6808-A24B406C9EF1}"/>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13E9741C-103D-E091-4F66-CAAB8452A49F}"/>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C754DC4D-8442-A31F-9266-A7DDC07EE1D0}"/>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C308FC30-8FB6-0819-A331-9BDCBC4F1082}"/>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CCE04440-D304-13C9-2E86-F314B902F321}"/>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0A82EA10-CE03-045E-B2CC-10B2416D8B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ED90F259-D84C-9C42-31BF-2B4F08518776}"/>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E057CF2E-9193-74DD-E778-CD64FC4ECC36}"/>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CB68E59-2540-F24D-9764-B51702C34C7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C1450B95-1229-CAF9-786B-5BCC6D250EA2}"/>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94C65A14-3D9B-5B03-3034-2B8A3287DC7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7C19365C-24F7-F9FF-9499-19FBD3B4E69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9EA50B99-FC5E-D729-E785-E1E69594A5EB}"/>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AE5061FC-0A41-C9DA-2D7A-4D88DE41D5E0}"/>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6F86162A-C66D-6BAF-803B-65E834745C9A}"/>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2B9B9B59-54AF-9FEB-A5D6-352BAD156261}"/>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zure OpenAI</a:t>
              </a:r>
            </a:p>
          </p:txBody>
        </p:sp>
      </p:grpSp>
      <p:sp>
        <p:nvSpPr>
          <p:cNvPr id="1216" name="Title 1215">
            <a:extLst>
              <a:ext uri="{FF2B5EF4-FFF2-40B4-BE49-F238E27FC236}">
                <a16:creationId xmlns:a16="http://schemas.microsoft.com/office/drawing/2014/main" id="{56CEF52D-F848-6419-4E9F-FDF47578152F}"/>
              </a:ext>
            </a:extLst>
          </p:cNvPr>
          <p:cNvSpPr txBox="1">
            <a:spLocks noGrp="1"/>
          </p:cNvSpPr>
          <p:nvPr>
            <p:ph type="title" idx="4294967295"/>
          </p:nvPr>
        </p:nvSpPr>
        <p:spPr>
          <a:xfrm>
            <a:off x="32539" y="133722"/>
            <a:ext cx="3022718" cy="80021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RA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Load Testing</a:t>
            </a:r>
          </a:p>
        </p:txBody>
      </p:sp>
      <p:sp>
        <p:nvSpPr>
          <p:cNvPr id="1232" name="TextBox 1231">
            <a:extLst>
              <a:ext uri="{FF2B5EF4-FFF2-40B4-BE49-F238E27FC236}">
                <a16:creationId xmlns:a16="http://schemas.microsoft.com/office/drawing/2014/main" id="{D618155C-E5C0-86AC-D07E-76182A5139FC}"/>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400E0D2D-ECCB-34CD-FEF7-A2DAD547CA6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B6D8751-06F7-958E-2D3C-38121E6B7C3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EC015A50-61BF-D51D-5EEA-DE38951E2A1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3D3A5144-B3D1-E35F-BAD7-0D36212580C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B55123DA-A10B-22B5-900B-E702B40D65C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573C8B2C-D6C3-F673-3BA3-4B87CC311D43}"/>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DC241215-4C5D-AF0F-9B0D-F103D8C7122E}"/>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251EBDE1-5F2A-3ECD-6854-CC174F42F5D2}"/>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C30E8273-4240-5E57-FC3E-4DCA6B3814CC}"/>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F56FD970-0C14-7AC1-E7CE-9F2BFF01206B}"/>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A57071DF-C145-C1F7-A697-FD093B612CC3}"/>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36B16BB2-F901-1AF6-14A5-0F93384A3EC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4A35C1CB-486B-58F6-36D3-2C481336279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F694BBCC-0185-FB44-7323-DC8A5587E558}"/>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2887D00C-C0DA-4417-2507-EB33A6E6F1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16BE0F95-6B6E-A6DC-C84C-BFF13E9849BD}"/>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D8B4AEFD-C51D-15F4-5BFF-7F605AF58270}"/>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51E36D21-5F4B-11B2-FD9A-CE8A7AFA3B44}"/>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428D5A3F-DC6C-DBDB-BB5F-920604684988}"/>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1B7B02F2-1E84-C9E3-7063-0285E6D34E5D}"/>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A2727487-3616-3BBB-F4EF-50A9586B10F0}"/>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49402BC1-D6B1-8B1F-F323-EF8EB49A779B}"/>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EE4B48A1-E693-6B34-0A1C-9E4D6A59BEE9}"/>
              </a:ext>
            </a:extLst>
          </p:cNvPr>
          <p:cNvSpPr txBox="1"/>
          <p:nvPr/>
        </p:nvSpPr>
        <p:spPr>
          <a:xfrm>
            <a:off x="8085383" y="6193083"/>
            <a:ext cx="83837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Diagno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A9E5CACF-1FB0-7BEC-E089-59F3D9565037}"/>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7399BBE5-19CE-7982-1073-D15A79C2605B}"/>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Generation</a:t>
            </a:r>
          </a:p>
        </p:txBody>
      </p:sp>
      <p:pic>
        <p:nvPicPr>
          <p:cNvPr id="4" name="Graphic 3">
            <a:extLst>
              <a:ext uri="{FF2B5EF4-FFF2-40B4-BE49-F238E27FC236}">
                <a16:creationId xmlns:a16="http://schemas.microsoft.com/office/drawing/2014/main" id="{DF2D9F6D-7A97-6238-6563-7FA3635DB56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218073" y="937183"/>
            <a:ext cx="640080" cy="640080"/>
          </a:xfrm>
          <a:prstGeom prst="rect">
            <a:avLst/>
          </a:prstGeom>
        </p:spPr>
      </p:pic>
      <p:sp>
        <p:nvSpPr>
          <p:cNvPr id="5" name="TextBox 4">
            <a:extLst>
              <a:ext uri="{FF2B5EF4-FFF2-40B4-BE49-F238E27FC236}">
                <a16:creationId xmlns:a16="http://schemas.microsoft.com/office/drawing/2014/main" id="{A86F56F8-3957-ED5B-C408-8F90CAABD97B}"/>
              </a:ext>
            </a:extLst>
          </p:cNvPr>
          <p:cNvSpPr txBox="1"/>
          <p:nvPr/>
        </p:nvSpPr>
        <p:spPr>
          <a:xfrm>
            <a:off x="1209106" y="1517983"/>
            <a:ext cx="559577"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Sans Text"/>
                <a:ea typeface="+mn-ea"/>
                <a:cs typeface="+mn-cs"/>
              </a:rPr>
              <a:t>Testing</a:t>
            </a:r>
          </a:p>
        </p:txBody>
      </p:sp>
      <p:sp>
        <p:nvSpPr>
          <p:cNvPr id="7" name="Arc 6">
            <a:extLst>
              <a:ext uri="{FF2B5EF4-FFF2-40B4-BE49-F238E27FC236}">
                <a16:creationId xmlns:a16="http://schemas.microsoft.com/office/drawing/2014/main" id="{11579C35-9086-74F2-E9DB-25BE6B44DDE3}"/>
              </a:ext>
            </a:extLst>
          </p:cNvPr>
          <p:cNvSpPr/>
          <p:nvPr/>
        </p:nvSpPr>
        <p:spPr>
          <a:xfrm>
            <a:off x="-2216378" y="1271404"/>
            <a:ext cx="9041248" cy="1252257"/>
          </a:xfrm>
          <a:prstGeom prst="arc">
            <a:avLst>
              <a:gd name="adj1" fmla="val 14247164"/>
              <a:gd name="adj2" fmla="val 0"/>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cxnSp>
        <p:nvCxnSpPr>
          <p:cNvPr id="10" name="Connector: Curved 9">
            <a:extLst>
              <a:ext uri="{FF2B5EF4-FFF2-40B4-BE49-F238E27FC236}">
                <a16:creationId xmlns:a16="http://schemas.microsoft.com/office/drawing/2014/main" id="{1A5AC256-A8BE-737B-639C-3B5A88F94DFB}"/>
              </a:ext>
            </a:extLst>
          </p:cNvPr>
          <p:cNvCxnSpPr>
            <a:cxnSpLocks/>
            <a:stCxn id="26" idx="3"/>
            <a:endCxn id="1203" idx="1"/>
          </p:cNvCxnSpPr>
          <p:nvPr/>
        </p:nvCxnSpPr>
        <p:spPr>
          <a:xfrm>
            <a:off x="7508699" y="2236041"/>
            <a:ext cx="3701911" cy="663775"/>
          </a:xfrm>
          <a:prstGeom prst="curvedConnector3">
            <a:avLst>
              <a:gd name="adj1" fmla="val 63300"/>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cxnSp>
        <p:nvCxnSpPr>
          <p:cNvPr id="15" name="Connector: Curved 14">
            <a:extLst>
              <a:ext uri="{FF2B5EF4-FFF2-40B4-BE49-F238E27FC236}">
                <a16:creationId xmlns:a16="http://schemas.microsoft.com/office/drawing/2014/main" id="{F186D9AE-3B52-9098-08FF-6DEE68BB48BC}"/>
              </a:ext>
            </a:extLst>
          </p:cNvPr>
          <p:cNvCxnSpPr>
            <a:cxnSpLocks/>
            <a:stCxn id="26" idx="0"/>
            <a:endCxn id="34" idx="3"/>
          </p:cNvCxnSpPr>
          <p:nvPr/>
        </p:nvCxnSpPr>
        <p:spPr>
          <a:xfrm rot="5400000" flipH="1" flipV="1">
            <a:off x="6756558" y="1169072"/>
            <a:ext cx="1179030" cy="314828"/>
          </a:xfrm>
          <a:prstGeom prst="curvedConnector4">
            <a:avLst>
              <a:gd name="adj1" fmla="val 36428"/>
              <a:gd name="adj2" fmla="val 172611"/>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cxnSp>
        <p:nvCxnSpPr>
          <p:cNvPr id="21" name="Connector: Curved 20">
            <a:extLst>
              <a:ext uri="{FF2B5EF4-FFF2-40B4-BE49-F238E27FC236}">
                <a16:creationId xmlns:a16="http://schemas.microsoft.com/office/drawing/2014/main" id="{DFBEED5D-DF4E-9326-199F-9985FB678F23}"/>
              </a:ext>
            </a:extLst>
          </p:cNvPr>
          <p:cNvCxnSpPr>
            <a:cxnSpLocks/>
            <a:stCxn id="1135" idx="2"/>
            <a:endCxn id="1212" idx="3"/>
          </p:cNvCxnSpPr>
          <p:nvPr/>
        </p:nvCxnSpPr>
        <p:spPr>
          <a:xfrm rot="16200000" flipH="1">
            <a:off x="6729682" y="3193240"/>
            <a:ext cx="1303852" cy="370905"/>
          </a:xfrm>
          <a:prstGeom prst="curvedConnector4">
            <a:avLst>
              <a:gd name="adj1" fmla="val 45869"/>
              <a:gd name="adj2" fmla="val 196043"/>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cxnSp>
        <p:nvCxnSpPr>
          <p:cNvPr id="24" name="Connector: Curved 23">
            <a:extLst>
              <a:ext uri="{FF2B5EF4-FFF2-40B4-BE49-F238E27FC236}">
                <a16:creationId xmlns:a16="http://schemas.microsoft.com/office/drawing/2014/main" id="{2EBC02E7-4BD3-9DF2-3B5E-36C3EDDF8674}"/>
              </a:ext>
            </a:extLst>
          </p:cNvPr>
          <p:cNvCxnSpPr>
            <a:cxnSpLocks/>
            <a:stCxn id="1135" idx="3"/>
            <a:endCxn id="36" idx="1"/>
          </p:cNvCxnSpPr>
          <p:nvPr/>
        </p:nvCxnSpPr>
        <p:spPr>
          <a:xfrm>
            <a:off x="7694690" y="2619045"/>
            <a:ext cx="1001313" cy="1078855"/>
          </a:xfrm>
          <a:prstGeom prst="curvedConnector3">
            <a:avLst>
              <a:gd name="adj1" fmla="val 50000"/>
            </a:avLst>
          </a:prstGeom>
          <a:noFill/>
          <a:ln w="28575">
            <a:gradFill>
              <a:gsLst>
                <a:gs pos="0">
                  <a:srgbClr val="8DC8E8"/>
                </a:gs>
                <a:gs pos="100000">
                  <a:srgbClr val="D59ED7"/>
                </a:gs>
              </a:gsLst>
              <a:lin ang="5400000" scaled="1"/>
            </a:gradFill>
            <a:prstDash val="lgDash"/>
            <a:headEnd type="none" w="med" len="med"/>
            <a:tailEnd type="triangl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12557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DDD3EC5-7BF3-594C-ACA9-C409D44A7C00}"/>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D371B91-AB4D-BED3-65D9-FA5773E2A247}"/>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5A45402D-22EB-3E04-7FF9-02DFECE5F7AA}"/>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F9419FB-5BE2-568A-BBF6-96EFEC42BE13}"/>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A1F74964-B03B-E435-40D4-DD3601938F93}"/>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CB927349-0DDC-D996-48AA-10C67190F111}"/>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B1A59309-13C3-CAA1-886D-4585576E9A4F}"/>
              </a:ext>
            </a:extLst>
          </p:cNvPr>
          <p:cNvSpPr txBox="1"/>
          <p:nvPr/>
        </p:nvSpPr>
        <p:spPr>
          <a:xfrm>
            <a:off x="4789178" y="1864391"/>
            <a:ext cx="5998464" cy="4129015"/>
          </a:xfrm>
          <a:prstGeom prst="rect">
            <a:avLst/>
          </a:prstGeom>
          <a:noFill/>
        </p:spPr>
        <p:txBody>
          <a:bodyPr wrap="square">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ke it Real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Hands-on experience that translates directly to customer solution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verage Key Resource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cess essential tools and demos for continuous learn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epen Expertis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uild critical technical skills in priority area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llaborative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Work with peers and experts in a team-driven sett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sting Impac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Equip teams to deliver more value and innovation to customers</a:t>
            </a:r>
            <a:endParaRPr kumimoji="0" lang="en-US" sz="1600" b="0"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C8D6A2BD-ABEA-7542-69D5-CEFFC41F1718}"/>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itle 13">
            <a:extLst>
              <a:ext uri="{FF2B5EF4-FFF2-40B4-BE49-F238E27FC236}">
                <a16:creationId xmlns:a16="http://schemas.microsoft.com/office/drawing/2014/main" id="{146BC051-365F-B7AA-53CC-772632483BB9}"/>
              </a:ext>
            </a:extLst>
          </p:cNvPr>
          <p:cNvSpPr txBox="1">
            <a:spLocks noGrp="1"/>
          </p:cNvSpPr>
          <p:nvPr>
            <p:ph type="title" idx="4294967295"/>
          </p:nvPr>
        </p:nvSpPr>
        <p:spPr>
          <a:xfrm>
            <a:off x="276150" y="189666"/>
            <a:ext cx="6097218"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dirty="0">
                <a:ln w="3175">
                  <a:noFill/>
                </a:ln>
                <a:solidFill>
                  <a:srgbClr val="FFFFFF"/>
                </a:solidFill>
                <a:effectLst/>
                <a:uLnTx/>
                <a:uFillTx/>
                <a:latin typeface="Segoe UI Semibold"/>
                <a:ea typeface="+mn-ea"/>
                <a:cs typeface="Segoe UI"/>
              </a:rPr>
              <a:t>Microhack Goals</a:t>
            </a:r>
          </a:p>
        </p:txBody>
      </p:sp>
      <p:sp>
        <p:nvSpPr>
          <p:cNvPr id="16" name="TextBox 15">
            <a:extLst>
              <a:ext uri="{FF2B5EF4-FFF2-40B4-BE49-F238E27FC236}">
                <a16:creationId xmlns:a16="http://schemas.microsoft.com/office/drawing/2014/main" id="{BDFC9DF0-4042-20D9-8E34-07DA5852482F}"/>
              </a:ext>
            </a:extLst>
          </p:cNvPr>
          <p:cNvSpPr txBox="1"/>
          <p:nvPr/>
        </p:nvSpPr>
        <p:spPr>
          <a:xfrm>
            <a:off x="4870095" y="477438"/>
            <a:ext cx="6141110" cy="535531"/>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build technical skills through hands-on application in key areas, while fostering a sense of community and collaboration.</a:t>
            </a:r>
            <a:endParaRPr kumimoji="0" lang="en-US" sz="1600" b="0" i="1" u="none" strike="noStrike" kern="1200" cap="none" spc="-50" normalizeH="0" baseline="0" noProof="0" dirty="0">
              <a:ln w="3175">
                <a:noFill/>
              </a:ln>
              <a:solidFill>
                <a:srgbClr val="D59ED7"/>
              </a:solidFill>
              <a:effectLst/>
              <a:uLnTx/>
              <a:uFillTx/>
              <a:latin typeface="Segoe UI Semibold"/>
              <a:ea typeface="+mn-ea"/>
              <a:cs typeface="Segoe UI" pitchFamily="34" charset="0"/>
            </a:endParaRPr>
          </a:p>
        </p:txBody>
      </p:sp>
      <p:sp>
        <p:nvSpPr>
          <p:cNvPr id="2" name="TextBox 1">
            <a:extLst>
              <a:ext uri="{FF2B5EF4-FFF2-40B4-BE49-F238E27FC236}">
                <a16:creationId xmlns:a16="http://schemas.microsoft.com/office/drawing/2014/main" id="{516333CD-98D2-E2D8-07A8-291A68A922D2}"/>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dirty="0">
                <a:solidFill>
                  <a:schemeClr val="bg1"/>
                </a:solidFill>
              </a:rPr>
              <a:t>Join our Microhack Community | </a:t>
            </a:r>
            <a:r>
              <a:rPr lang="en-US" sz="2000" b="1" spc="-50" dirty="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dirty="0">
              <a:solidFill>
                <a:schemeClr val="bg1"/>
              </a:solidFill>
            </a:endParaRPr>
          </a:p>
        </p:txBody>
      </p:sp>
    </p:spTree>
    <p:extLst>
      <p:ext uri="{BB962C8B-B14F-4D97-AF65-F5344CB8AC3E}">
        <p14:creationId xmlns:p14="http://schemas.microsoft.com/office/powerpoint/2010/main" val="334840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0B42E-52DC-8541-837A-79448373A6E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D68972D-38D5-3C3B-87E5-6671F9E6B01F}"/>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C7C8327D-A21A-2CB1-7816-2867AC0B0961}"/>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2C0C58A-D85B-5776-F7D0-4408FA2C6CCB}"/>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75332832-B287-CA24-F5D8-AD0CFBD870A8}"/>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4F21E360-7232-4B8D-DC87-BA57E3A764E2}"/>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pic>
        <p:nvPicPr>
          <p:cNvPr id="12" name="Picture 11">
            <a:extLst>
              <a:ext uri="{FF2B5EF4-FFF2-40B4-BE49-F238E27FC236}">
                <a16:creationId xmlns:a16="http://schemas.microsoft.com/office/drawing/2014/main" id="{B0A4A76F-EA9F-E674-8EC2-4FA909D23E4B}"/>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itle 13">
            <a:extLst>
              <a:ext uri="{FF2B5EF4-FFF2-40B4-BE49-F238E27FC236}">
                <a16:creationId xmlns:a16="http://schemas.microsoft.com/office/drawing/2014/main" id="{72574F54-E2FA-09C0-2CD7-2357906C21CE}"/>
              </a:ext>
            </a:extLst>
          </p:cNvPr>
          <p:cNvSpPr txBox="1">
            <a:spLocks noGrp="1"/>
          </p:cNvSpPr>
          <p:nvPr>
            <p:ph type="title" idx="4294967295"/>
          </p:nvPr>
        </p:nvSpPr>
        <p:spPr>
          <a:xfrm>
            <a:off x="276150" y="189666"/>
            <a:ext cx="6097218"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dirty="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95AA0F34-DCD7-987A-AF7C-760E29F6BB4C}"/>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AA3C8D4A-D271-8275-3C4D-C4E6AA083D33}"/>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6" name="TextBox 15">
            <a:extLst>
              <a:ext uri="{FF2B5EF4-FFF2-40B4-BE49-F238E27FC236}">
                <a16:creationId xmlns:a16="http://schemas.microsoft.com/office/drawing/2014/main" id="{37AAED91-CED6-5277-C057-021D8F160922}"/>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dirty="0">
                <a:solidFill>
                  <a:schemeClr val="bg1"/>
                </a:solidFill>
              </a:rPr>
              <a:t>Join our Microhack Community | </a:t>
            </a:r>
            <a:r>
              <a:rPr lang="en-US" sz="2000" b="1" spc="-50" dirty="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dirty="0">
              <a:solidFill>
                <a:schemeClr val="bg1"/>
              </a:solidFill>
            </a:endParaRPr>
          </a:p>
        </p:txBody>
      </p:sp>
    </p:spTree>
    <p:extLst>
      <p:ext uri="{BB962C8B-B14F-4D97-AF65-F5344CB8AC3E}">
        <p14:creationId xmlns:p14="http://schemas.microsoft.com/office/powerpoint/2010/main" val="412710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2970AF00-6CFD-CCEB-DFE7-8989F60A15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708043-84C5-319A-F288-366E349129FF}"/>
              </a:ext>
            </a:extLst>
          </p:cNvPr>
          <p:cNvSpPr>
            <a:spLocks noGrp="1"/>
          </p:cNvSpPr>
          <p:nvPr>
            <p:ph type="title"/>
          </p:nvPr>
        </p:nvSpPr>
        <p:spPr/>
        <p:txBody>
          <a:bodyPr/>
          <a:lstStyle/>
          <a:p>
            <a:pPr algn="ctr"/>
            <a:r>
              <a:rPr lang="en-US" dirty="0">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E00FDA54-01F4-DE13-BBD4-BB04215FC1D2}"/>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BF668563-A874-B1B2-06C2-688838625C32}"/>
              </a:ext>
            </a:extLst>
          </p:cNvPr>
          <p:cNvGraphicFramePr>
            <a:graphicFrameLocks noGrp="1"/>
          </p:cNvGraphicFramePr>
          <p:nvPr>
            <p:extLst>
              <p:ext uri="{D42A27DB-BD31-4B8C-83A1-F6EECF244321}">
                <p14:modId xmlns:p14="http://schemas.microsoft.com/office/powerpoint/2010/main" val="1811601794"/>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Welcome &amp; Introductions</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00 – 11:10 A.M. (EST)</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dirty="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5466505"/>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ACF39405-2E51-084B-70BA-3AA22E7EB789}"/>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1635178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76F24022-3ABB-03DE-C3AB-B7A209B0A7C4}"/>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0644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C6C5594-F75A-E676-4839-94C71B74DF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1FD1D9-75F7-33CE-E21E-3C055D36894C}"/>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64FC2E4-7D69-D5C1-98D0-82A55A5CF3A3}"/>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30453D34-C4E4-54D2-7889-D529633BFBA5}"/>
              </a:ext>
            </a:extLst>
          </p:cNvPr>
          <p:cNvGraphicFramePr>
            <a:graphicFrameLocks noGrp="1"/>
          </p:cNvGraphicFramePr>
          <p:nvPr>
            <p:extLst>
              <p:ext uri="{D42A27DB-BD31-4B8C-83A1-F6EECF244321}">
                <p14:modId xmlns:p14="http://schemas.microsoft.com/office/powerpoint/2010/main" val="1882730670"/>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Setting the Stage</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4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10 – 11:50 A.M. (EST)</a:t>
                      </a:r>
                      <a:endParaRPr lang="en-US" sz="1800" dirty="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28100997"/>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77D33D00-ACCC-805D-51A5-A9F903A23B0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568363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2FCCB-C668-E375-745A-4092D4DA792D}"/>
              </a:ext>
            </a:extLst>
          </p:cNvPr>
          <p:cNvSpPr>
            <a:spLocks noGrp="1"/>
          </p:cNvSpPr>
          <p:nvPr>
            <p:ph type="title"/>
          </p:nvPr>
        </p:nvSpPr>
        <p:spPr>
          <a:xfrm>
            <a:off x="618744" y="209677"/>
            <a:ext cx="9064752" cy="1097915"/>
          </a:xfrm>
        </p:spPr>
        <p:txBody>
          <a:bodyPr/>
          <a:lstStyle/>
          <a:p>
            <a:r>
              <a:rPr lang="en-US">
                <a:latin typeface="Segoe UI Semibold" panose="020B0702040204020203" pitchFamily="34" charset="0"/>
                <a:cs typeface="Segoe UI Semibold" panose="020B0702040204020203" pitchFamily="34" charset="0"/>
              </a:rPr>
              <a:t>Microsoft Microhack</a:t>
            </a:r>
          </a:p>
        </p:txBody>
      </p:sp>
      <p:sp>
        <p:nvSpPr>
          <p:cNvPr id="3" name="Text Placeholder 2">
            <a:extLst>
              <a:ext uri="{FF2B5EF4-FFF2-40B4-BE49-F238E27FC236}">
                <a16:creationId xmlns:a16="http://schemas.microsoft.com/office/drawing/2014/main" id="{A1215DBE-C581-DF12-8B02-1BB4FA99B94C}"/>
              </a:ext>
            </a:extLst>
          </p:cNvPr>
          <p:cNvSpPr>
            <a:spLocks noGrp="1"/>
          </p:cNvSpPr>
          <p:nvPr>
            <p:ph type="body" sz="quarter" idx="13"/>
          </p:nvPr>
        </p:nvSpPr>
        <p:spPr>
          <a:xfrm>
            <a:off x="618745" y="1344676"/>
            <a:ext cx="9064752" cy="511175"/>
          </a:xfrm>
        </p:spPr>
        <p:txBody>
          <a:bodyPr/>
          <a:lstStyle/>
          <a:p>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p>
        </p:txBody>
      </p:sp>
      <p:sp>
        <p:nvSpPr>
          <p:cNvPr id="5" name="Text Placeholder 4">
            <a:extLst>
              <a:ext uri="{FF2B5EF4-FFF2-40B4-BE49-F238E27FC236}">
                <a16:creationId xmlns:a16="http://schemas.microsoft.com/office/drawing/2014/main" id="{8AF51EFE-C206-4E9F-1ECA-69B8E804771B}"/>
              </a:ext>
            </a:extLst>
          </p:cNvPr>
          <p:cNvSpPr>
            <a:spLocks noGrp="1"/>
          </p:cNvSpPr>
          <p:nvPr>
            <p:ph type="body" sz="quarter" idx="15"/>
          </p:nvPr>
        </p:nvSpPr>
        <p:spPr>
          <a:xfrm>
            <a:off x="673608" y="2556796"/>
            <a:ext cx="1996440" cy="381190"/>
          </a:xfrm>
        </p:spPr>
        <p:txBody>
          <a:bodyPr/>
          <a:lstStyle/>
          <a:p>
            <a:r>
              <a:rPr lang="en-US" sz="2000"/>
              <a:t>Overview</a:t>
            </a:r>
          </a:p>
        </p:txBody>
      </p:sp>
      <p:sp>
        <p:nvSpPr>
          <p:cNvPr id="10" name="Text Placeholder 9">
            <a:extLst>
              <a:ext uri="{FF2B5EF4-FFF2-40B4-BE49-F238E27FC236}">
                <a16:creationId xmlns:a16="http://schemas.microsoft.com/office/drawing/2014/main" id="{704798AF-C115-FD01-660C-FACB9324AE67}"/>
              </a:ext>
            </a:extLst>
          </p:cNvPr>
          <p:cNvSpPr>
            <a:spLocks noGrp="1"/>
          </p:cNvSpPr>
          <p:nvPr>
            <p:ph type="body" sz="quarter" idx="20"/>
          </p:nvPr>
        </p:nvSpPr>
        <p:spPr>
          <a:xfrm>
            <a:off x="673608" y="3391012"/>
            <a:ext cx="1996440" cy="778652"/>
          </a:xfrm>
        </p:spPr>
        <p:txBody>
          <a:bodyPr/>
          <a:lstStyle/>
          <a:p>
            <a:r>
              <a:rPr lang="en-US"/>
              <a:t>Outline the Microhack experience, review customer scenario and related technologies.</a:t>
            </a:r>
          </a:p>
        </p:txBody>
      </p:sp>
      <p:sp>
        <p:nvSpPr>
          <p:cNvPr id="15" name="Text Placeholder 14">
            <a:extLst>
              <a:ext uri="{FF2B5EF4-FFF2-40B4-BE49-F238E27FC236}">
                <a16:creationId xmlns:a16="http://schemas.microsoft.com/office/drawing/2014/main" id="{CEF0FB64-55E0-EC94-60C2-AF7B00F7949A}"/>
              </a:ext>
            </a:extLst>
          </p:cNvPr>
          <p:cNvSpPr>
            <a:spLocks noGrp="1"/>
          </p:cNvSpPr>
          <p:nvPr>
            <p:ph type="body" sz="quarter" idx="25"/>
          </p:nvPr>
        </p:nvSpPr>
        <p:spPr>
          <a:xfrm>
            <a:off x="670560" y="4505738"/>
            <a:ext cx="893064" cy="335470"/>
          </a:xfrm>
        </p:spPr>
        <p:txBody>
          <a:bodyPr/>
          <a:lstStyle/>
          <a:p>
            <a:r>
              <a:rPr lang="en-US"/>
              <a:t>1</a:t>
            </a:r>
          </a:p>
        </p:txBody>
      </p:sp>
      <p:pic>
        <p:nvPicPr>
          <p:cNvPr id="216" name="Picture Placeholder 215" descr="3d Glasses">
            <a:extLst>
              <a:ext uri="{FF2B5EF4-FFF2-40B4-BE49-F238E27FC236}">
                <a16:creationId xmlns:a16="http://schemas.microsoft.com/office/drawing/2014/main" id="{77F5520F-24C4-6968-9481-7307959BD532}"/>
              </a:ext>
            </a:extLst>
          </p:cNvPr>
          <p:cNvPicPr>
            <a:picLocks noGrp="1" noChangeAspect="1"/>
          </p:cNvPicPr>
          <p:nvPr>
            <p:ph type="pic" sz="quarter" idx="35"/>
          </p:nvPr>
        </p:nvPicPr>
        <p:blipFill>
          <a:blip r:embed="rId3">
            <a:extLst>
              <a:ext uri="{96DAC541-7B7A-43D3-8B79-37D633B846F1}">
                <asvg:svgBlip xmlns:asvg="http://schemas.microsoft.com/office/drawing/2016/SVG/main" r:embed="rId4"/>
              </a:ext>
            </a:extLst>
          </a:blip>
          <a:srcRect/>
          <a:stretch/>
        </p:blipFill>
        <p:spPr>
          <a:xfrm>
            <a:off x="1796796" y="4513453"/>
            <a:ext cx="457200" cy="457200"/>
          </a:xfrm>
        </p:spPr>
      </p:pic>
      <p:sp>
        <p:nvSpPr>
          <p:cNvPr id="16" name="Text Placeholder 15">
            <a:extLst>
              <a:ext uri="{FF2B5EF4-FFF2-40B4-BE49-F238E27FC236}">
                <a16:creationId xmlns:a16="http://schemas.microsoft.com/office/drawing/2014/main" id="{7CD1A1A3-7B06-540A-7142-A38FDAEFF942}"/>
              </a:ext>
            </a:extLst>
          </p:cNvPr>
          <p:cNvSpPr>
            <a:spLocks noGrp="1"/>
          </p:cNvSpPr>
          <p:nvPr>
            <p:ph type="body" sz="quarter" idx="26"/>
          </p:nvPr>
        </p:nvSpPr>
        <p:spPr>
          <a:xfrm>
            <a:off x="670560" y="4894756"/>
            <a:ext cx="893064" cy="335470"/>
          </a:xfrm>
        </p:spPr>
        <p:txBody>
          <a:bodyPr/>
          <a:lstStyle/>
          <a:p>
            <a:r>
              <a:rPr lang="en-US"/>
              <a:t>60 minutes</a:t>
            </a:r>
          </a:p>
        </p:txBody>
      </p:sp>
      <p:sp>
        <p:nvSpPr>
          <p:cNvPr id="6" name="Text Placeholder 5">
            <a:extLst>
              <a:ext uri="{FF2B5EF4-FFF2-40B4-BE49-F238E27FC236}">
                <a16:creationId xmlns:a16="http://schemas.microsoft.com/office/drawing/2014/main" id="{D392FED6-AAD8-5F8E-79B4-DF24A782374A}"/>
              </a:ext>
            </a:extLst>
          </p:cNvPr>
          <p:cNvSpPr>
            <a:spLocks noGrp="1"/>
          </p:cNvSpPr>
          <p:nvPr>
            <p:ph type="body" sz="quarter" idx="16"/>
          </p:nvPr>
        </p:nvSpPr>
        <p:spPr>
          <a:xfrm>
            <a:off x="2862072" y="2556796"/>
            <a:ext cx="1996440" cy="381190"/>
          </a:xfrm>
        </p:spPr>
        <p:txBody>
          <a:bodyPr/>
          <a:lstStyle/>
          <a:p>
            <a:r>
              <a:rPr lang="en-US" sz="2000"/>
              <a:t>Hack</a:t>
            </a:r>
          </a:p>
        </p:txBody>
      </p:sp>
      <p:sp>
        <p:nvSpPr>
          <p:cNvPr id="11" name="Text Placeholder 10">
            <a:extLst>
              <a:ext uri="{FF2B5EF4-FFF2-40B4-BE49-F238E27FC236}">
                <a16:creationId xmlns:a16="http://schemas.microsoft.com/office/drawing/2014/main" id="{743309AC-45B9-55D7-27D2-36A3565F37F2}"/>
              </a:ext>
            </a:extLst>
          </p:cNvPr>
          <p:cNvSpPr>
            <a:spLocks noGrp="1"/>
          </p:cNvSpPr>
          <p:nvPr>
            <p:ph type="body" sz="quarter" idx="21"/>
          </p:nvPr>
        </p:nvSpPr>
        <p:spPr>
          <a:xfrm>
            <a:off x="2862072" y="3391012"/>
            <a:ext cx="1996440" cy="778652"/>
          </a:xfrm>
        </p:spPr>
        <p:txBody>
          <a:bodyPr vert="horz" lIns="91440" tIns="0" rIns="91440" bIns="45720" rtlCol="0" anchor="t">
            <a:noAutofit/>
          </a:bodyPr>
          <a:lstStyle/>
          <a:p>
            <a:r>
              <a:rPr lang="en-US"/>
              <a:t>Participants will work in teams to complete hands-on lab by tackling a series of challenges.</a:t>
            </a:r>
          </a:p>
        </p:txBody>
      </p:sp>
      <p:sp>
        <p:nvSpPr>
          <p:cNvPr id="17" name="Text Placeholder 16">
            <a:extLst>
              <a:ext uri="{FF2B5EF4-FFF2-40B4-BE49-F238E27FC236}">
                <a16:creationId xmlns:a16="http://schemas.microsoft.com/office/drawing/2014/main" id="{06CF7B6D-90A6-8A59-BCF3-987FD30E7D32}"/>
              </a:ext>
            </a:extLst>
          </p:cNvPr>
          <p:cNvSpPr>
            <a:spLocks noGrp="1"/>
          </p:cNvSpPr>
          <p:nvPr>
            <p:ph type="body" sz="quarter" idx="27"/>
          </p:nvPr>
        </p:nvSpPr>
        <p:spPr>
          <a:xfrm>
            <a:off x="2862072" y="4505738"/>
            <a:ext cx="893064" cy="335470"/>
          </a:xfrm>
        </p:spPr>
        <p:txBody>
          <a:bodyPr/>
          <a:lstStyle/>
          <a:p>
            <a:r>
              <a:rPr lang="en-US"/>
              <a:t>2</a:t>
            </a:r>
          </a:p>
        </p:txBody>
      </p:sp>
      <p:pic>
        <p:nvPicPr>
          <p:cNvPr id="248" name="Picture Placeholder 247" descr="Notebook">
            <a:extLst>
              <a:ext uri="{FF2B5EF4-FFF2-40B4-BE49-F238E27FC236}">
                <a16:creationId xmlns:a16="http://schemas.microsoft.com/office/drawing/2014/main" id="{80BB589F-B280-8794-B12E-C4B4F9F40D8F}"/>
              </a:ext>
            </a:extLst>
          </p:cNvPr>
          <p:cNvPicPr>
            <a:picLocks noGrp="1" noChangeAspect="1"/>
          </p:cNvPicPr>
          <p:nvPr>
            <p:ph type="pic" sz="quarter" idx="36"/>
          </p:nvPr>
        </p:nvPicPr>
        <p:blipFill>
          <a:blip r:embed="rId5">
            <a:extLst>
              <a:ext uri="{96DAC541-7B7A-43D3-8B79-37D633B846F1}">
                <asvg:svgBlip xmlns:asvg="http://schemas.microsoft.com/office/drawing/2016/SVG/main" r:embed="rId6"/>
              </a:ext>
            </a:extLst>
          </a:blip>
          <a:srcRect t="1020" b="1020"/>
          <a:stretch/>
        </p:blipFill>
        <p:spPr>
          <a:xfrm>
            <a:off x="4002024" y="4513453"/>
            <a:ext cx="457200" cy="457200"/>
          </a:xfrm>
        </p:spPr>
      </p:pic>
      <p:sp>
        <p:nvSpPr>
          <p:cNvPr id="18" name="Text Placeholder 17">
            <a:extLst>
              <a:ext uri="{FF2B5EF4-FFF2-40B4-BE49-F238E27FC236}">
                <a16:creationId xmlns:a16="http://schemas.microsoft.com/office/drawing/2014/main" id="{678764F9-E4BE-4CDA-9057-9DAC71454214}"/>
              </a:ext>
            </a:extLst>
          </p:cNvPr>
          <p:cNvSpPr>
            <a:spLocks noGrp="1"/>
          </p:cNvSpPr>
          <p:nvPr>
            <p:ph type="body" sz="quarter" idx="28"/>
          </p:nvPr>
        </p:nvSpPr>
        <p:spPr>
          <a:xfrm>
            <a:off x="2862072" y="4894756"/>
            <a:ext cx="893064" cy="335470"/>
          </a:xfrm>
        </p:spPr>
        <p:txBody>
          <a:bodyPr/>
          <a:lstStyle/>
          <a:p>
            <a:r>
              <a:rPr lang="en-US"/>
              <a:t>110 minutes</a:t>
            </a:r>
          </a:p>
        </p:txBody>
      </p:sp>
      <p:sp>
        <p:nvSpPr>
          <p:cNvPr id="7" name="Text Placeholder 6">
            <a:extLst>
              <a:ext uri="{FF2B5EF4-FFF2-40B4-BE49-F238E27FC236}">
                <a16:creationId xmlns:a16="http://schemas.microsoft.com/office/drawing/2014/main" id="{8C718A59-7FF0-150D-65DA-7E2BCFAC70CD}"/>
              </a:ext>
            </a:extLst>
          </p:cNvPr>
          <p:cNvSpPr>
            <a:spLocks noGrp="1"/>
          </p:cNvSpPr>
          <p:nvPr>
            <p:ph type="body" sz="quarter" idx="17"/>
          </p:nvPr>
        </p:nvSpPr>
        <p:spPr>
          <a:xfrm>
            <a:off x="5050536" y="2534674"/>
            <a:ext cx="1996440" cy="381190"/>
          </a:xfrm>
        </p:spPr>
        <p:txBody>
          <a:bodyPr/>
          <a:lstStyle/>
          <a:p>
            <a:r>
              <a:rPr lang="en-US" sz="2000"/>
              <a:t>Break</a:t>
            </a:r>
          </a:p>
        </p:txBody>
      </p:sp>
      <p:sp>
        <p:nvSpPr>
          <p:cNvPr id="12" name="Text Placeholder 11">
            <a:extLst>
              <a:ext uri="{FF2B5EF4-FFF2-40B4-BE49-F238E27FC236}">
                <a16:creationId xmlns:a16="http://schemas.microsoft.com/office/drawing/2014/main" id="{8AD98222-E384-9A18-1F02-89CAC7CC3BB8}"/>
              </a:ext>
            </a:extLst>
          </p:cNvPr>
          <p:cNvSpPr>
            <a:spLocks noGrp="1"/>
          </p:cNvSpPr>
          <p:nvPr>
            <p:ph type="body" sz="quarter" idx="22"/>
          </p:nvPr>
        </p:nvSpPr>
        <p:spPr>
          <a:xfrm>
            <a:off x="5050536" y="3391012"/>
            <a:ext cx="1996440" cy="778652"/>
          </a:xfrm>
        </p:spPr>
        <p:txBody>
          <a:bodyPr/>
          <a:lstStyle/>
          <a:p>
            <a:r>
              <a:rPr lang="en-US"/>
              <a:t>Break for all participants.</a:t>
            </a:r>
          </a:p>
        </p:txBody>
      </p:sp>
      <p:sp>
        <p:nvSpPr>
          <p:cNvPr id="19" name="Text Placeholder 18">
            <a:extLst>
              <a:ext uri="{FF2B5EF4-FFF2-40B4-BE49-F238E27FC236}">
                <a16:creationId xmlns:a16="http://schemas.microsoft.com/office/drawing/2014/main" id="{241E28D7-854E-501F-42D9-C642C74C2B72}"/>
              </a:ext>
            </a:extLst>
          </p:cNvPr>
          <p:cNvSpPr>
            <a:spLocks noGrp="1"/>
          </p:cNvSpPr>
          <p:nvPr>
            <p:ph type="body" sz="quarter" idx="29"/>
          </p:nvPr>
        </p:nvSpPr>
        <p:spPr>
          <a:xfrm>
            <a:off x="5065776" y="4505738"/>
            <a:ext cx="893064" cy="335470"/>
          </a:xfrm>
        </p:spPr>
        <p:txBody>
          <a:bodyPr/>
          <a:lstStyle/>
          <a:p>
            <a:r>
              <a:rPr lang="en-US"/>
              <a:t>3</a:t>
            </a:r>
          </a:p>
        </p:txBody>
      </p:sp>
      <p:sp>
        <p:nvSpPr>
          <p:cNvPr id="20" name="Text Placeholder 19">
            <a:extLst>
              <a:ext uri="{FF2B5EF4-FFF2-40B4-BE49-F238E27FC236}">
                <a16:creationId xmlns:a16="http://schemas.microsoft.com/office/drawing/2014/main" id="{1E03F989-54DC-067A-FE2C-CC0917539F8B}"/>
              </a:ext>
            </a:extLst>
          </p:cNvPr>
          <p:cNvSpPr>
            <a:spLocks noGrp="1"/>
          </p:cNvSpPr>
          <p:nvPr>
            <p:ph type="body" sz="quarter" idx="30"/>
          </p:nvPr>
        </p:nvSpPr>
        <p:spPr>
          <a:xfrm>
            <a:off x="5065776" y="4894756"/>
            <a:ext cx="893064" cy="335470"/>
          </a:xfrm>
        </p:spPr>
        <p:txBody>
          <a:bodyPr/>
          <a:lstStyle/>
          <a:p>
            <a:r>
              <a:rPr lang="en-US"/>
              <a:t>10 minutes</a:t>
            </a:r>
          </a:p>
        </p:txBody>
      </p:sp>
      <p:sp>
        <p:nvSpPr>
          <p:cNvPr id="8" name="Text Placeholder 7">
            <a:extLst>
              <a:ext uri="{FF2B5EF4-FFF2-40B4-BE49-F238E27FC236}">
                <a16:creationId xmlns:a16="http://schemas.microsoft.com/office/drawing/2014/main" id="{1A668396-55B1-62F2-1540-284A767D707A}"/>
              </a:ext>
            </a:extLst>
          </p:cNvPr>
          <p:cNvSpPr>
            <a:spLocks noGrp="1"/>
          </p:cNvSpPr>
          <p:nvPr>
            <p:ph type="body" sz="quarter" idx="18"/>
          </p:nvPr>
        </p:nvSpPr>
        <p:spPr>
          <a:xfrm>
            <a:off x="7239000" y="2556796"/>
            <a:ext cx="1996440" cy="381190"/>
          </a:xfrm>
        </p:spPr>
        <p:txBody>
          <a:bodyPr/>
          <a:lstStyle/>
          <a:p>
            <a:r>
              <a:rPr lang="en-US" sz="2000"/>
              <a:t>Show &amp; Tell</a:t>
            </a:r>
          </a:p>
        </p:txBody>
      </p:sp>
      <p:sp>
        <p:nvSpPr>
          <p:cNvPr id="13" name="Text Placeholder 12">
            <a:extLst>
              <a:ext uri="{FF2B5EF4-FFF2-40B4-BE49-F238E27FC236}">
                <a16:creationId xmlns:a16="http://schemas.microsoft.com/office/drawing/2014/main" id="{7A796CA2-AD43-6CE8-757E-437D60714D2F}"/>
              </a:ext>
            </a:extLst>
          </p:cNvPr>
          <p:cNvSpPr>
            <a:spLocks noGrp="1"/>
          </p:cNvSpPr>
          <p:nvPr>
            <p:ph type="body" sz="quarter" idx="23"/>
          </p:nvPr>
        </p:nvSpPr>
        <p:spPr>
          <a:xfrm>
            <a:off x="7239000" y="3391012"/>
            <a:ext cx="1996440" cy="778652"/>
          </a:xfrm>
        </p:spPr>
        <p:txBody>
          <a:bodyPr/>
          <a:lstStyle/>
          <a:p>
            <a:r>
              <a:rPr lang="en-US"/>
              <a:t>Teams will take turns providing a presentation to showcase their accomplishments and methods during the Microhack.</a:t>
            </a:r>
          </a:p>
        </p:txBody>
      </p:sp>
      <p:sp>
        <p:nvSpPr>
          <p:cNvPr id="21" name="Text Placeholder 20">
            <a:extLst>
              <a:ext uri="{FF2B5EF4-FFF2-40B4-BE49-F238E27FC236}">
                <a16:creationId xmlns:a16="http://schemas.microsoft.com/office/drawing/2014/main" id="{C82DF9C1-AC48-88A4-1DE4-5C291D78D087}"/>
              </a:ext>
            </a:extLst>
          </p:cNvPr>
          <p:cNvSpPr>
            <a:spLocks noGrp="1"/>
          </p:cNvSpPr>
          <p:nvPr>
            <p:ph type="body" sz="quarter" idx="31"/>
          </p:nvPr>
        </p:nvSpPr>
        <p:spPr>
          <a:xfrm>
            <a:off x="7257288" y="4505738"/>
            <a:ext cx="893064" cy="335470"/>
          </a:xfrm>
        </p:spPr>
        <p:txBody>
          <a:bodyPr/>
          <a:lstStyle/>
          <a:p>
            <a:r>
              <a:rPr lang="en-US"/>
              <a:t>4</a:t>
            </a:r>
          </a:p>
        </p:txBody>
      </p:sp>
      <p:sp>
        <p:nvSpPr>
          <p:cNvPr id="22" name="Text Placeholder 21">
            <a:extLst>
              <a:ext uri="{FF2B5EF4-FFF2-40B4-BE49-F238E27FC236}">
                <a16:creationId xmlns:a16="http://schemas.microsoft.com/office/drawing/2014/main" id="{6E0AB1ED-F5D1-D929-4FEE-C47FC6E1F392}"/>
              </a:ext>
            </a:extLst>
          </p:cNvPr>
          <p:cNvSpPr>
            <a:spLocks noGrp="1"/>
          </p:cNvSpPr>
          <p:nvPr>
            <p:ph type="body" sz="quarter" idx="32"/>
          </p:nvPr>
        </p:nvSpPr>
        <p:spPr>
          <a:xfrm>
            <a:off x="7257288" y="4894756"/>
            <a:ext cx="893064" cy="335470"/>
          </a:xfrm>
        </p:spPr>
        <p:txBody>
          <a:bodyPr/>
          <a:lstStyle/>
          <a:p>
            <a:r>
              <a:rPr lang="en-US"/>
              <a:t>45 minutes</a:t>
            </a:r>
          </a:p>
        </p:txBody>
      </p:sp>
      <p:sp>
        <p:nvSpPr>
          <p:cNvPr id="9" name="Text Placeholder 8">
            <a:extLst>
              <a:ext uri="{FF2B5EF4-FFF2-40B4-BE49-F238E27FC236}">
                <a16:creationId xmlns:a16="http://schemas.microsoft.com/office/drawing/2014/main" id="{0443785B-1A6D-E1D6-6E52-FE4E67D01D2F}"/>
              </a:ext>
            </a:extLst>
          </p:cNvPr>
          <p:cNvSpPr>
            <a:spLocks noGrp="1"/>
          </p:cNvSpPr>
          <p:nvPr>
            <p:ph type="body" sz="quarter" idx="19"/>
          </p:nvPr>
        </p:nvSpPr>
        <p:spPr>
          <a:xfrm>
            <a:off x="9427464" y="2556796"/>
            <a:ext cx="1996440" cy="381190"/>
          </a:xfrm>
        </p:spPr>
        <p:txBody>
          <a:bodyPr/>
          <a:lstStyle/>
          <a:p>
            <a:r>
              <a:rPr lang="en-US" sz="2000"/>
              <a:t>Closing</a:t>
            </a:r>
          </a:p>
        </p:txBody>
      </p:sp>
      <p:sp>
        <p:nvSpPr>
          <p:cNvPr id="14" name="Text Placeholder 13">
            <a:extLst>
              <a:ext uri="{FF2B5EF4-FFF2-40B4-BE49-F238E27FC236}">
                <a16:creationId xmlns:a16="http://schemas.microsoft.com/office/drawing/2014/main" id="{74478444-AE6E-47B8-62DC-D7A1402293D6}"/>
              </a:ext>
            </a:extLst>
          </p:cNvPr>
          <p:cNvSpPr>
            <a:spLocks noGrp="1"/>
          </p:cNvSpPr>
          <p:nvPr>
            <p:ph type="body" sz="quarter" idx="24"/>
          </p:nvPr>
        </p:nvSpPr>
        <p:spPr>
          <a:xfrm>
            <a:off x="9427464" y="3391012"/>
            <a:ext cx="1996440" cy="778652"/>
          </a:xfrm>
        </p:spPr>
        <p:txBody>
          <a:bodyPr/>
          <a:lstStyle/>
          <a:p>
            <a:r>
              <a:rPr lang="en-US"/>
              <a:t>Review of Microhack accomplishments and guide the participants for continuing their journey.</a:t>
            </a:r>
          </a:p>
        </p:txBody>
      </p:sp>
      <p:sp>
        <p:nvSpPr>
          <p:cNvPr id="23" name="Text Placeholder 22">
            <a:extLst>
              <a:ext uri="{FF2B5EF4-FFF2-40B4-BE49-F238E27FC236}">
                <a16:creationId xmlns:a16="http://schemas.microsoft.com/office/drawing/2014/main" id="{8B7EEEE4-EFCB-5235-DF74-74FE37B59EB4}"/>
              </a:ext>
            </a:extLst>
          </p:cNvPr>
          <p:cNvSpPr>
            <a:spLocks noGrp="1"/>
          </p:cNvSpPr>
          <p:nvPr>
            <p:ph type="body" sz="quarter" idx="33"/>
          </p:nvPr>
        </p:nvSpPr>
        <p:spPr>
          <a:xfrm>
            <a:off x="9448800" y="4505738"/>
            <a:ext cx="893064" cy="335470"/>
          </a:xfrm>
        </p:spPr>
        <p:txBody>
          <a:bodyPr/>
          <a:lstStyle/>
          <a:p>
            <a:r>
              <a:rPr lang="en-US"/>
              <a:t>5</a:t>
            </a:r>
          </a:p>
        </p:txBody>
      </p:sp>
      <p:sp>
        <p:nvSpPr>
          <p:cNvPr id="31" name="Footer Placeholder 30">
            <a:extLst>
              <a:ext uri="{FF2B5EF4-FFF2-40B4-BE49-F238E27FC236}">
                <a16:creationId xmlns:a16="http://schemas.microsoft.com/office/drawing/2014/main" id="{79483BE1-6DA7-D003-E2C0-D63969BCA6F7}"/>
              </a:ext>
            </a:extLst>
          </p:cNvPr>
          <p:cNvSpPr>
            <a:spLocks noGrp="1"/>
          </p:cNvSpPr>
          <p:nvPr>
            <p:ph type="ftr" sz="quarter" idx="11"/>
          </p:nvPr>
        </p:nvSpPr>
        <p:spPr>
          <a:xfrm>
            <a:off x="670560" y="6072886"/>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FFFFFF"/>
                </a:solidFill>
                <a:effectLst/>
                <a:uLnTx/>
                <a:uFillTx/>
                <a:latin typeface="Avenir Next LT Pro "/>
                <a:ea typeface="+mn-ea"/>
                <a:cs typeface="+mn-cs"/>
              </a:rPr>
              <a:t>TIMELINE</a:t>
            </a:r>
          </a:p>
        </p:txBody>
      </p:sp>
      <p:cxnSp>
        <p:nvCxnSpPr>
          <p:cNvPr id="30" name="Straight Connector 29">
            <a:extLst>
              <a:ext uri="{FF2B5EF4-FFF2-40B4-BE49-F238E27FC236}">
                <a16:creationId xmlns:a16="http://schemas.microsoft.com/office/drawing/2014/main" id="{26819713-90D5-D6DB-A09C-7E98B2CAD7E5}"/>
              </a:ext>
              <a:ext uri="{C183D7F6-B498-43B3-948B-1728B52AA6E4}">
                <adec:decorative xmlns:adec="http://schemas.microsoft.com/office/drawing/2017/decorative" val="1"/>
              </a:ext>
            </a:extLst>
          </p:cNvPr>
          <p:cNvCxnSpPr>
            <a:cxnSpLocks/>
          </p:cNvCxnSpPr>
          <p:nvPr/>
        </p:nvCxnSpPr>
        <p:spPr>
          <a:xfrm>
            <a:off x="2936988" y="1475740"/>
            <a:ext cx="3291058" cy="0"/>
          </a:xfrm>
          <a:prstGeom prst="line">
            <a:avLst/>
          </a:prstGeom>
          <a:ln w="28575">
            <a:gradFill>
              <a:gsLst>
                <a:gs pos="0">
                  <a:schemeClr val="accent1">
                    <a:lumMod val="60000"/>
                    <a:lumOff val="40000"/>
                  </a:schemeClr>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FC163EF3-7A90-66CF-4870-71CF75D3A703}"/>
              </a:ext>
            </a:extLst>
          </p:cNvPr>
          <p:cNvSpPr>
            <a:spLocks noGrp="1"/>
          </p:cNvSpPr>
          <p:nvPr>
            <p:ph type="body" sz="quarter" idx="34"/>
          </p:nvPr>
        </p:nvSpPr>
        <p:spPr/>
        <p:txBody>
          <a:bodyPr/>
          <a:lstStyle/>
          <a:p>
            <a:r>
              <a:rPr lang="en-US"/>
              <a:t>15 minutes</a:t>
            </a:r>
          </a:p>
        </p:txBody>
      </p:sp>
      <p:pic>
        <p:nvPicPr>
          <p:cNvPr id="4" name="Picture 3" descr="A logo with a globe and text&#10;&#10;Description automatically generated">
            <a:extLst>
              <a:ext uri="{FF2B5EF4-FFF2-40B4-BE49-F238E27FC236}">
                <a16:creationId xmlns:a16="http://schemas.microsoft.com/office/drawing/2014/main" id="{B7DB5D51-6FF0-3C39-8EA3-657C78C88B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1258" y="376358"/>
            <a:ext cx="1391997" cy="1338330"/>
          </a:xfrm>
          <a:prstGeom prst="rect">
            <a:avLst/>
          </a:prstGeom>
        </p:spPr>
      </p:pic>
      <p:pic>
        <p:nvPicPr>
          <p:cNvPr id="26" name="Graphic 25" descr="Coffee outline">
            <a:extLst>
              <a:ext uri="{FF2B5EF4-FFF2-40B4-BE49-F238E27FC236}">
                <a16:creationId xmlns:a16="http://schemas.microsoft.com/office/drawing/2014/main" id="{1262860F-73E0-EA2F-FA1C-F76ADA2CF6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85509" y="4416702"/>
            <a:ext cx="581298" cy="581298"/>
          </a:xfrm>
          <a:prstGeom prst="rect">
            <a:avLst/>
          </a:prstGeom>
        </p:spPr>
      </p:pic>
      <p:pic>
        <p:nvPicPr>
          <p:cNvPr id="36" name="Graphic 35" descr="Wave Gesture outline">
            <a:extLst>
              <a:ext uri="{FF2B5EF4-FFF2-40B4-BE49-F238E27FC236}">
                <a16:creationId xmlns:a16="http://schemas.microsoft.com/office/drawing/2014/main" id="{E3D2C921-B538-838A-BB0D-AB075D90C3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4859" y="4455082"/>
            <a:ext cx="573942" cy="573942"/>
          </a:xfrm>
          <a:prstGeom prst="rect">
            <a:avLst/>
          </a:prstGeom>
        </p:spPr>
      </p:pic>
      <p:pic>
        <p:nvPicPr>
          <p:cNvPr id="37" name="Graphic 36" descr="Theatre outline">
            <a:extLst>
              <a:ext uri="{FF2B5EF4-FFF2-40B4-BE49-F238E27FC236}">
                <a16:creationId xmlns:a16="http://schemas.microsoft.com/office/drawing/2014/main" id="{88E3DF57-B874-4727-9DB4-43CF049F24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93783" y="4517261"/>
            <a:ext cx="494100" cy="494100"/>
          </a:xfrm>
          <a:prstGeom prst="rect">
            <a:avLst/>
          </a:prstGeom>
        </p:spPr>
      </p:pic>
      <p:sp>
        <p:nvSpPr>
          <p:cNvPr id="41" name="TextBox 40">
            <a:extLst>
              <a:ext uri="{FF2B5EF4-FFF2-40B4-BE49-F238E27FC236}">
                <a16:creationId xmlns:a16="http://schemas.microsoft.com/office/drawing/2014/main" id="{3BC4EBAB-B238-2B5A-887B-CECCA3A76D29}"/>
              </a:ext>
            </a:extLst>
          </p:cNvPr>
          <p:cNvSpPr txBox="1"/>
          <p:nvPr/>
        </p:nvSpPr>
        <p:spPr>
          <a:xfrm>
            <a:off x="1017128" y="5460417"/>
            <a:ext cx="1092992" cy="276999"/>
          </a:xfrm>
          <a:prstGeom prst="rect">
            <a:avLst/>
          </a:prstGeom>
          <a:noFill/>
        </p:spPr>
        <p:txBody>
          <a:bodyPr wrap="none" rtlCol="0">
            <a:spAutoFit/>
          </a:bodyPr>
          <a:lstStyle/>
          <a:p>
            <a:r>
              <a:rPr lang="en-US" sz="1200">
                <a:solidFill>
                  <a:schemeClr val="bg1"/>
                </a:solidFill>
              </a:rPr>
              <a:t>You are </a:t>
            </a:r>
            <a:r>
              <a:rPr kumimoji="0" lang="en-US" sz="12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ERE</a:t>
            </a:r>
          </a:p>
        </p:txBody>
      </p:sp>
    </p:spTree>
    <p:extLst>
      <p:ext uri="{BB962C8B-B14F-4D97-AF65-F5344CB8AC3E}">
        <p14:creationId xmlns:p14="http://schemas.microsoft.com/office/powerpoint/2010/main" val="2669003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3.xml><?xml version="1.0" encoding="utf-8"?>
<a:theme xmlns:a="http://schemas.openxmlformats.org/drawingml/2006/main" name="Custom">
  <a:themeElements>
    <a:clrScheme name="TM16411243">
      <a:dk1>
        <a:srgbClr val="000000"/>
      </a:dk1>
      <a:lt1>
        <a:srgbClr val="FFFFFF"/>
      </a:lt1>
      <a:dk2>
        <a:srgbClr val="2B2E42"/>
      </a:dk2>
      <a:lt2>
        <a:srgbClr val="E7E6E6"/>
      </a:lt2>
      <a:accent1>
        <a:srgbClr val="F4CE2F"/>
      </a:accent1>
      <a:accent2>
        <a:srgbClr val="D23958"/>
      </a:accent2>
      <a:accent3>
        <a:srgbClr val="F58020"/>
      </a:accent3>
      <a:accent4>
        <a:srgbClr val="009AD5"/>
      </a:accent4>
      <a:accent5>
        <a:srgbClr val="0479CE"/>
      </a:accent5>
      <a:accent6>
        <a:srgbClr val="25C29C"/>
      </a:accent6>
      <a:hlink>
        <a:srgbClr val="0563C1"/>
      </a:hlink>
      <a:folHlink>
        <a:srgbClr val="954F72"/>
      </a:folHlink>
    </a:clrScheme>
    <a:fontScheme name="Custom 70">
      <a:majorFont>
        <a:latin typeface="Avenir Next LT Pro Demi"/>
        <a:ea typeface=""/>
        <a:cs typeface=""/>
      </a:majorFont>
      <a:minorFont>
        <a:latin typeface="Avenir Next LT Pro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16411243_Win32_SL_v4" id="{5E1028BC-039D-4A85-8182-5BC71B8BBFDB}" vid="{8FC0B532-47E6-48BF-A500-9A0D2EC43829}"/>
    </a:ext>
  </a:extLst>
</a:theme>
</file>

<file path=ppt/theme/theme4.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5.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6.xml><?xml version="1.0" encoding="utf-8"?>
<a:theme xmlns:a="http://schemas.openxmlformats.org/drawingml/2006/main" name="MSFT Cloud_Industry Slide Template-16x9">
  <a:themeElements>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7.xml><?xml version="1.0" encoding="utf-8"?>
<a:theme xmlns:a="http://schemas.openxmlformats.org/drawingml/2006/main" name="Americas 16:9 Template Dark">
  <a:themeElements>
    <a:clrScheme name="Custom 135">
      <a:dk1>
        <a:srgbClr val="091F2C"/>
      </a:dk1>
      <a:lt1>
        <a:srgbClr val="FFFFFF"/>
      </a:lt1>
      <a:dk2>
        <a:srgbClr val="2A446F"/>
      </a:dk2>
      <a:lt2>
        <a:srgbClr val="E8E6DF"/>
      </a:lt2>
      <a:accent1>
        <a:srgbClr val="8DC8E8"/>
      </a:accent1>
      <a:accent2>
        <a:srgbClr val="0078D4"/>
      </a:accent2>
      <a:accent3>
        <a:srgbClr val="C03BC4"/>
      </a:accent3>
      <a:accent4>
        <a:srgbClr val="D7D2CB"/>
      </a:accent4>
      <a:accent5>
        <a:srgbClr val="FFB900"/>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2023_16-9_Event-template.potx" id="{757FA001-178F-4700-B49C-26A3D5283787}" vid="{96849954-06DF-4C81-84E4-E0323F64AD7F}"/>
    </a:ext>
  </a:extLst>
</a:theme>
</file>

<file path=ppt/theme/theme8.xml><?xml version="1.0" encoding="utf-8"?>
<a:theme xmlns:a="http://schemas.openxmlformats.org/drawingml/2006/main" name="1_Americas Soar Template">
  <a:themeElements>
    <a:clrScheme name="Custom 10">
      <a:dk1>
        <a:srgbClr val="000000"/>
      </a:dk1>
      <a:lt1>
        <a:srgbClr val="FFFFFF"/>
      </a:lt1>
      <a:dk2>
        <a:srgbClr val="091F2C"/>
      </a:dk2>
      <a:lt2>
        <a:srgbClr val="E8E6DF"/>
      </a:lt2>
      <a:accent1>
        <a:srgbClr val="0078D4"/>
      </a:accent1>
      <a:accent2>
        <a:srgbClr val="2A446F"/>
      </a:accent2>
      <a:accent3>
        <a:srgbClr val="8DC8E8"/>
      </a:accent3>
      <a:accent4>
        <a:srgbClr val="49C5B1"/>
      </a:accent4>
      <a:accent5>
        <a:srgbClr val="8661C5"/>
      </a:accent5>
      <a:accent6>
        <a:srgbClr val="C03BC4"/>
      </a:accent6>
      <a:hlink>
        <a:srgbClr val="0078D4"/>
      </a:hlink>
      <a:folHlink>
        <a:srgbClr val="C03BC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mericas Soar Template_v1" id="{8B908FC0-00D0-43C8-80E3-5E891EBC9FAE}" vid="{EC421234-54FA-463E-8157-1DDD99B074A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54d9244-6265-4252-8c86-afb857f94a7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97186308C97834AB56B094FEF8818F0" ma:contentTypeVersion="14" ma:contentTypeDescription="Create a new document." ma:contentTypeScope="" ma:versionID="196ec9c98a0496eb812e94dae708725b">
  <xsd:schema xmlns:xsd="http://www.w3.org/2001/XMLSchema" xmlns:xs="http://www.w3.org/2001/XMLSchema" xmlns:p="http://schemas.microsoft.com/office/2006/metadata/properties" xmlns:ns1="http://schemas.microsoft.com/sharepoint/v3" xmlns:ns2="054d9244-6265-4252-8c86-afb857f94a71" targetNamespace="http://schemas.microsoft.com/office/2006/metadata/properties" ma:root="true" ma:fieldsID="c61fe012b85f58687654c448fdb79496" ns1:_="" ns2:_="">
    <xsd:import namespace="http://schemas.microsoft.com/sharepoint/v3"/>
    <xsd:import namespace="054d9244-6265-4252-8c86-afb857f94a7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54d9244-6265-4252-8c86-afb857f94a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86C901-CF8E-4367-B300-0DD214DC4C63}">
  <ds:schemaRefs>
    <ds:schemaRef ds:uri="http://schemas.microsoft.com/sharepoint/v3/contenttype/forms"/>
  </ds:schemaRefs>
</ds:datastoreItem>
</file>

<file path=customXml/itemProps2.xml><?xml version="1.0" encoding="utf-8"?>
<ds:datastoreItem xmlns:ds="http://schemas.openxmlformats.org/officeDocument/2006/customXml" ds:itemID="{DB5D5546-3250-4738-B4D8-024DBE318E94}">
  <ds:schemaRefs>
    <ds:schemaRef ds:uri="http://schemas.microsoft.com/office/infopath/2007/PartnerControls"/>
    <ds:schemaRef ds:uri="http://purl.org/dc/elements/1.1/"/>
    <ds:schemaRef ds:uri="http://purl.org/dc/terms/"/>
    <ds:schemaRef ds:uri="http://schemas.microsoft.com/office/2006/metadata/properties"/>
    <ds:schemaRef ds:uri="http://schemas.microsoft.com/office/2006/documentManagement/types"/>
    <ds:schemaRef ds:uri="http://purl.org/dc/dcmitype/"/>
    <ds:schemaRef ds:uri="http://www.w3.org/XML/1998/namespace"/>
    <ds:schemaRef ds:uri="http://schemas.openxmlformats.org/package/2006/metadata/core-properties"/>
    <ds:schemaRef ds:uri="054d9244-6265-4252-8c86-afb857f94a71"/>
    <ds:schemaRef ds:uri="http://schemas.microsoft.com/sharepoint/v3"/>
  </ds:schemaRefs>
</ds:datastoreItem>
</file>

<file path=customXml/itemProps3.xml><?xml version="1.0" encoding="utf-8"?>
<ds:datastoreItem xmlns:ds="http://schemas.openxmlformats.org/officeDocument/2006/customXml" ds:itemID="{F5ADED4B-BC24-4E5F-A001-9F249C0CF662}">
  <ds:schemaRefs>
    <ds:schemaRef ds:uri="054d9244-6265-4252-8c86-afb857f94a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73</TotalTime>
  <Words>3828</Words>
  <Application>Microsoft Office PowerPoint</Application>
  <PresentationFormat>Widescreen</PresentationFormat>
  <Paragraphs>594</Paragraphs>
  <Slides>33</Slides>
  <Notes>26</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59" baseType="lpstr">
      <vt:lpstr>Aptos</vt:lpstr>
      <vt:lpstr>Aptos Display</vt:lpstr>
      <vt:lpstr>Arial</vt:lpstr>
      <vt:lpstr>Avenir Next LT Pro </vt:lpstr>
      <vt:lpstr>Avenir Next LT Pro Demi</vt:lpstr>
      <vt:lpstr>Calibri</vt:lpstr>
      <vt:lpstr>Consolas</vt:lpstr>
      <vt:lpstr>Segoe Sans Display</vt:lpstr>
      <vt:lpstr>Segoe Sans Display Semibold</vt:lpstr>
      <vt:lpstr>Segoe Sans Text</vt:lpstr>
      <vt:lpstr>Segoe Sans Text Semibold</vt:lpstr>
      <vt:lpstr>Segoe UI</vt:lpstr>
      <vt:lpstr>Segoe UI Light</vt:lpstr>
      <vt:lpstr>Segoe UI Semibold</vt:lpstr>
      <vt:lpstr>Segoe UI Semilight</vt:lpstr>
      <vt:lpstr>Segoe UI Variable Display</vt:lpstr>
      <vt:lpstr>Wingdings</vt:lpstr>
      <vt:lpstr>1_Office Theme</vt:lpstr>
      <vt:lpstr>1_Industry Leader Summit White template</vt:lpstr>
      <vt:lpstr>Custom</vt:lpstr>
      <vt:lpstr>1_Azure 2023 Template</vt:lpstr>
      <vt:lpstr>Azure 2023 Template</vt:lpstr>
      <vt:lpstr>MSFT Cloud_Industry Slide Template-16x9</vt:lpstr>
      <vt:lpstr>Americas 16:9 Template Dark</vt:lpstr>
      <vt:lpstr>1_Americas Soar Template</vt:lpstr>
      <vt:lpstr>think-cell Slide</vt:lpstr>
      <vt:lpstr>Microsoft Microhack</vt:lpstr>
      <vt:lpstr>Agenda</vt:lpstr>
      <vt:lpstr>Welcome &amp; Introductions</vt:lpstr>
      <vt:lpstr>Microhack Goals</vt:lpstr>
      <vt:lpstr>Microhack Feedback</vt:lpstr>
      <vt:lpstr>Agenda</vt:lpstr>
      <vt:lpstr>Setting the Stage</vt:lpstr>
      <vt:lpstr>Agenda</vt:lpstr>
      <vt:lpstr>Microsoft Microhack</vt:lpstr>
      <vt:lpstr>Microsoft Microhack</vt:lpstr>
      <vt:lpstr>Rules of Engagement</vt:lpstr>
      <vt:lpstr>Customer Scenario | Contoso</vt:lpstr>
      <vt:lpstr>Bringing domain knowledge to LLMs</vt:lpstr>
      <vt:lpstr>Retrieval-Augmented Generation  High-level Architecture</vt:lpstr>
      <vt:lpstr>Prompting GenAI Example</vt:lpstr>
      <vt:lpstr>Prompt GenAI with Incorrect Response Example</vt:lpstr>
      <vt:lpstr>Evaluating RAG: Best Practices</vt:lpstr>
      <vt:lpstr>Anatomy of RAG</vt:lpstr>
      <vt:lpstr>Microhack Basic Architecture</vt:lpstr>
      <vt:lpstr>Hands-On Hack</vt:lpstr>
      <vt:lpstr>Agenda</vt:lpstr>
      <vt:lpstr>Break</vt:lpstr>
      <vt:lpstr>Agenda</vt:lpstr>
      <vt:lpstr>Show &amp; Tell</vt:lpstr>
      <vt:lpstr>Agenda</vt:lpstr>
      <vt:lpstr>Show and Tell Instructions</vt:lpstr>
      <vt:lpstr>Close</vt:lpstr>
      <vt:lpstr>Agenda</vt:lpstr>
      <vt:lpstr>Microhack Feedback</vt:lpstr>
      <vt:lpstr>End</vt:lpstr>
      <vt:lpstr>RAG Basic Architecture</vt:lpstr>
      <vt:lpstr>RAG Basic Architecture</vt:lpstr>
      <vt:lpstr>RAG Load Tes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Tooles</dc:creator>
  <cp:lastModifiedBy>James Tooles</cp:lastModifiedBy>
  <cp:revision>15</cp:revision>
  <dcterms:created xsi:type="dcterms:W3CDTF">2024-10-09T17:28:49Z</dcterms:created>
  <dcterms:modified xsi:type="dcterms:W3CDTF">2025-04-17T13:1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7186308C97834AB56B094FEF8818F0</vt:lpwstr>
  </property>
  <property fmtid="{D5CDD505-2E9C-101B-9397-08002B2CF9AE}" pid="3" name="MediaServiceImageTags">
    <vt:lpwstr/>
  </property>
</Properties>
</file>